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7" r:id="rId6"/>
    <p:sldMasterId id="2147483710" r:id="rId7"/>
    <p:sldMasterId id="2147483724" r:id="rId8"/>
  </p:sldMasterIdLst>
  <p:notesMasterIdLst>
    <p:notesMasterId r:id="rId42"/>
  </p:notesMasterIdLst>
  <p:sldIdLst>
    <p:sldId id="269" r:id="rId9"/>
    <p:sldId id="268" r:id="rId10"/>
    <p:sldId id="259" r:id="rId11"/>
    <p:sldId id="301" r:id="rId12"/>
    <p:sldId id="2147477336" r:id="rId13"/>
    <p:sldId id="2147468201" r:id="rId14"/>
    <p:sldId id="295" r:id="rId15"/>
    <p:sldId id="2147468205" r:id="rId16"/>
    <p:sldId id="293" r:id="rId17"/>
    <p:sldId id="2147477331" r:id="rId18"/>
    <p:sldId id="2147472438" r:id="rId19"/>
    <p:sldId id="2147477334" r:id="rId20"/>
    <p:sldId id="2147472440" r:id="rId21"/>
    <p:sldId id="2147472439" r:id="rId22"/>
    <p:sldId id="2147477330" r:id="rId23"/>
    <p:sldId id="2147477335" r:id="rId24"/>
    <p:sldId id="273" r:id="rId25"/>
    <p:sldId id="256" r:id="rId26"/>
    <p:sldId id="257" r:id="rId27"/>
    <p:sldId id="262" r:id="rId28"/>
    <p:sldId id="258" r:id="rId29"/>
    <p:sldId id="2147468202" r:id="rId30"/>
    <p:sldId id="261" r:id="rId31"/>
    <p:sldId id="267" r:id="rId32"/>
    <p:sldId id="260" r:id="rId33"/>
    <p:sldId id="264" r:id="rId34"/>
    <p:sldId id="2147468203" r:id="rId35"/>
    <p:sldId id="2147468204" r:id="rId36"/>
    <p:sldId id="270" r:id="rId37"/>
    <p:sldId id="266" r:id="rId38"/>
    <p:sldId id="265" r:id="rId39"/>
    <p:sldId id="271" r:id="rId40"/>
    <p:sldId id="2147468198"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4"/>
    <a:srgbClr val="82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718" autoAdjust="0"/>
  </p:normalViewPr>
  <p:slideViewPr>
    <p:cSldViewPr snapToGrid="0">
      <p:cViewPr varScale="1">
        <p:scale>
          <a:sx n="98" d="100"/>
          <a:sy n="98" d="100"/>
        </p:scale>
        <p:origin x="876"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urtney Tenhover" userId="ae2cf505-6387-4cc4-9e8f-d6c2096d9cc9" providerId="ADAL" clId="{517A0F84-176D-4A9C-A3EC-12F474F33FE1}"/>
    <pc:docChg chg="custSel addSld delSld modSld delMainMaster">
      <pc:chgData name="Courtney Tenhover" userId="ae2cf505-6387-4cc4-9e8f-d6c2096d9cc9" providerId="ADAL" clId="{517A0F84-176D-4A9C-A3EC-12F474F33FE1}" dt="2025-05-20T12:18:41.857" v="432" actId="1076"/>
      <pc:docMkLst>
        <pc:docMk/>
      </pc:docMkLst>
      <pc:sldChg chg="del">
        <pc:chgData name="Courtney Tenhover" userId="ae2cf505-6387-4cc4-9e8f-d6c2096d9cc9" providerId="ADAL" clId="{517A0F84-176D-4A9C-A3EC-12F474F33FE1}" dt="2025-05-19T20:00:08.589" v="10" actId="47"/>
        <pc:sldMkLst>
          <pc:docMk/>
          <pc:sldMk cId="2330476560" sldId="261"/>
        </pc:sldMkLst>
      </pc:sldChg>
      <pc:sldChg chg="modSp mod">
        <pc:chgData name="Courtney Tenhover" userId="ae2cf505-6387-4cc4-9e8f-d6c2096d9cc9" providerId="ADAL" clId="{517A0F84-176D-4A9C-A3EC-12F474F33FE1}" dt="2025-05-19T20:00:49.892" v="33" actId="20577"/>
        <pc:sldMkLst>
          <pc:docMk/>
          <pc:sldMk cId="0" sldId="269"/>
        </pc:sldMkLst>
        <pc:spChg chg="mod">
          <ac:chgData name="Courtney Tenhover" userId="ae2cf505-6387-4cc4-9e8f-d6c2096d9cc9" providerId="ADAL" clId="{517A0F84-176D-4A9C-A3EC-12F474F33FE1}" dt="2025-05-19T20:00:44.591" v="27" actId="20577"/>
          <ac:spMkLst>
            <pc:docMk/>
            <pc:sldMk cId="0" sldId="269"/>
            <ac:spMk id="28" creationId="{00000000-0000-0000-0000-000000000000}"/>
          </ac:spMkLst>
        </pc:spChg>
        <pc:spChg chg="mod">
          <ac:chgData name="Courtney Tenhover" userId="ae2cf505-6387-4cc4-9e8f-d6c2096d9cc9" providerId="ADAL" clId="{517A0F84-176D-4A9C-A3EC-12F474F33FE1}" dt="2025-05-19T20:00:49.892" v="33" actId="20577"/>
          <ac:spMkLst>
            <pc:docMk/>
            <pc:sldMk cId="0" sldId="269"/>
            <ac:spMk id="30" creationId="{00000000-0000-0000-0000-000000000000}"/>
          </ac:spMkLst>
        </pc:spChg>
      </pc:sldChg>
      <pc:sldChg chg="addSp modSp mod">
        <pc:chgData name="Courtney Tenhover" userId="ae2cf505-6387-4cc4-9e8f-d6c2096d9cc9" providerId="ADAL" clId="{517A0F84-176D-4A9C-A3EC-12F474F33FE1}" dt="2025-05-19T20:08:19.026" v="104" actId="14100"/>
        <pc:sldMkLst>
          <pc:docMk/>
          <pc:sldMk cId="2835311434" sldId="295"/>
        </pc:sldMkLst>
        <pc:spChg chg="add mod">
          <ac:chgData name="Courtney Tenhover" userId="ae2cf505-6387-4cc4-9e8f-d6c2096d9cc9" providerId="ADAL" clId="{517A0F84-176D-4A9C-A3EC-12F474F33FE1}" dt="2025-05-19T20:05:38.002" v="100" actId="1076"/>
          <ac:spMkLst>
            <pc:docMk/>
            <pc:sldMk cId="2835311434" sldId="295"/>
            <ac:spMk id="2" creationId="{FCE859CA-2A23-43EE-BE04-ABA4260765E9}"/>
          </ac:spMkLst>
        </pc:spChg>
        <pc:spChg chg="mod">
          <ac:chgData name="Courtney Tenhover" userId="ae2cf505-6387-4cc4-9e8f-d6c2096d9cc9" providerId="ADAL" clId="{517A0F84-176D-4A9C-A3EC-12F474F33FE1}" dt="2025-05-19T20:08:19.026" v="104" actId="14100"/>
          <ac:spMkLst>
            <pc:docMk/>
            <pc:sldMk cId="2835311434" sldId="295"/>
            <ac:spMk id="30" creationId="{00000000-0000-0000-0000-000000000000}"/>
          </ac:spMkLst>
        </pc:spChg>
      </pc:sldChg>
      <pc:sldChg chg="del">
        <pc:chgData name="Courtney Tenhover" userId="ae2cf505-6387-4cc4-9e8f-d6c2096d9cc9" providerId="ADAL" clId="{517A0F84-176D-4A9C-A3EC-12F474F33FE1}" dt="2025-05-19T19:59:57.157" v="2" actId="47"/>
        <pc:sldMkLst>
          <pc:docMk/>
          <pc:sldMk cId="522846558" sldId="299"/>
        </pc:sldMkLst>
      </pc:sldChg>
      <pc:sldChg chg="addSp delSp modSp mod">
        <pc:chgData name="Courtney Tenhover" userId="ae2cf505-6387-4cc4-9e8f-d6c2096d9cc9" providerId="ADAL" clId="{517A0F84-176D-4A9C-A3EC-12F474F33FE1}" dt="2025-05-20T12:18:41.857" v="432" actId="1076"/>
        <pc:sldMkLst>
          <pc:docMk/>
          <pc:sldMk cId="2026029857" sldId="301"/>
        </pc:sldMkLst>
        <pc:spChg chg="add mod">
          <ac:chgData name="Courtney Tenhover" userId="ae2cf505-6387-4cc4-9e8f-d6c2096d9cc9" providerId="ADAL" clId="{517A0F84-176D-4A9C-A3EC-12F474F33FE1}" dt="2025-05-20T12:18:41.857" v="432" actId="1076"/>
          <ac:spMkLst>
            <pc:docMk/>
            <pc:sldMk cId="2026029857" sldId="301"/>
            <ac:spMk id="5" creationId="{A39BD3F1-09A3-4A9A-AFD9-CCE825F3C447}"/>
          </ac:spMkLst>
        </pc:spChg>
        <pc:picChg chg="del">
          <ac:chgData name="Courtney Tenhover" userId="ae2cf505-6387-4cc4-9e8f-d6c2096d9cc9" providerId="ADAL" clId="{517A0F84-176D-4A9C-A3EC-12F474F33FE1}" dt="2025-05-20T12:16:15.024" v="313" actId="478"/>
          <ac:picMkLst>
            <pc:docMk/>
            <pc:sldMk cId="2026029857" sldId="301"/>
            <ac:picMk id="4" creationId="{FC39D16C-0838-5033-2EE5-555E2B490619}"/>
          </ac:picMkLst>
        </pc:picChg>
        <pc:picChg chg="del">
          <ac:chgData name="Courtney Tenhover" userId="ae2cf505-6387-4cc4-9e8f-d6c2096d9cc9" providerId="ADAL" clId="{517A0F84-176D-4A9C-A3EC-12F474F33FE1}" dt="2025-05-19T20:01:00.221" v="34" actId="478"/>
          <ac:picMkLst>
            <pc:docMk/>
            <pc:sldMk cId="2026029857" sldId="301"/>
            <ac:picMk id="1026" creationId="{E02EDD9C-39F5-4AC6-A25C-7924B3C34943}"/>
          </ac:picMkLst>
        </pc:picChg>
      </pc:sldChg>
      <pc:sldChg chg="del">
        <pc:chgData name="Courtney Tenhover" userId="ae2cf505-6387-4cc4-9e8f-d6c2096d9cc9" providerId="ADAL" clId="{517A0F84-176D-4A9C-A3EC-12F474F33FE1}" dt="2025-05-19T19:59:46.195" v="0" actId="2696"/>
        <pc:sldMkLst>
          <pc:docMk/>
          <pc:sldMk cId="2263598897" sldId="302"/>
        </pc:sldMkLst>
      </pc:sldChg>
      <pc:sldChg chg="del">
        <pc:chgData name="Courtney Tenhover" userId="ae2cf505-6387-4cc4-9e8f-d6c2096d9cc9" providerId="ADAL" clId="{517A0F84-176D-4A9C-A3EC-12F474F33FE1}" dt="2025-05-19T20:00:10.219" v="12" actId="47"/>
        <pc:sldMkLst>
          <pc:docMk/>
          <pc:sldMk cId="3024397553" sldId="303"/>
        </pc:sldMkLst>
      </pc:sldChg>
      <pc:sldChg chg="del">
        <pc:chgData name="Courtney Tenhover" userId="ae2cf505-6387-4cc4-9e8f-d6c2096d9cc9" providerId="ADAL" clId="{517A0F84-176D-4A9C-A3EC-12F474F33FE1}" dt="2025-05-19T20:00:07.777" v="9" actId="47"/>
        <pc:sldMkLst>
          <pc:docMk/>
          <pc:sldMk cId="1480587439" sldId="304"/>
        </pc:sldMkLst>
      </pc:sldChg>
      <pc:sldChg chg="del">
        <pc:chgData name="Courtney Tenhover" userId="ae2cf505-6387-4cc4-9e8f-d6c2096d9cc9" providerId="ADAL" clId="{517A0F84-176D-4A9C-A3EC-12F474F33FE1}" dt="2025-05-19T20:00:09.378" v="11" actId="47"/>
        <pc:sldMkLst>
          <pc:docMk/>
          <pc:sldMk cId="856927562" sldId="305"/>
        </pc:sldMkLst>
      </pc:sldChg>
      <pc:sldChg chg="del">
        <pc:chgData name="Courtney Tenhover" userId="ae2cf505-6387-4cc4-9e8f-d6c2096d9cc9" providerId="ADAL" clId="{517A0F84-176D-4A9C-A3EC-12F474F33FE1}" dt="2025-05-19T19:59:58.503" v="3" actId="47"/>
        <pc:sldMkLst>
          <pc:docMk/>
          <pc:sldMk cId="3165761239" sldId="411"/>
        </pc:sldMkLst>
      </pc:sldChg>
      <pc:sldChg chg="del">
        <pc:chgData name="Courtney Tenhover" userId="ae2cf505-6387-4cc4-9e8f-d6c2096d9cc9" providerId="ADAL" clId="{517A0F84-176D-4A9C-A3EC-12F474F33FE1}" dt="2025-05-19T20:00:06.898" v="8" actId="47"/>
        <pc:sldMkLst>
          <pc:docMk/>
          <pc:sldMk cId="2320850437" sldId="510"/>
        </pc:sldMkLst>
      </pc:sldChg>
      <pc:sldChg chg="del">
        <pc:chgData name="Courtney Tenhover" userId="ae2cf505-6387-4cc4-9e8f-d6c2096d9cc9" providerId="ADAL" clId="{517A0F84-176D-4A9C-A3EC-12F474F33FE1}" dt="2025-05-19T19:59:48.221" v="1" actId="2696"/>
        <pc:sldMkLst>
          <pc:docMk/>
          <pc:sldMk cId="3180746199" sldId="2147468194"/>
        </pc:sldMkLst>
      </pc:sldChg>
      <pc:sldChg chg="del">
        <pc:chgData name="Courtney Tenhover" userId="ae2cf505-6387-4cc4-9e8f-d6c2096d9cc9" providerId="ADAL" clId="{517A0F84-176D-4A9C-A3EC-12F474F33FE1}" dt="2025-05-19T20:00:34.396" v="24" actId="47"/>
        <pc:sldMkLst>
          <pc:docMk/>
          <pc:sldMk cId="2905150" sldId="2147468195"/>
        </pc:sldMkLst>
      </pc:sldChg>
      <pc:sldChg chg="del">
        <pc:chgData name="Courtney Tenhover" userId="ae2cf505-6387-4cc4-9e8f-d6c2096d9cc9" providerId="ADAL" clId="{517A0F84-176D-4A9C-A3EC-12F474F33FE1}" dt="2025-05-19T20:00:06.107" v="7" actId="47"/>
        <pc:sldMkLst>
          <pc:docMk/>
          <pc:sldMk cId="1872409536" sldId="2147468196"/>
        </pc:sldMkLst>
      </pc:sldChg>
      <pc:sldChg chg="del">
        <pc:chgData name="Courtney Tenhover" userId="ae2cf505-6387-4cc4-9e8f-d6c2096d9cc9" providerId="ADAL" clId="{517A0F84-176D-4A9C-A3EC-12F474F33FE1}" dt="2025-05-19T20:00:05.333" v="6" actId="47"/>
        <pc:sldMkLst>
          <pc:docMk/>
          <pc:sldMk cId="2406507340" sldId="2147468197"/>
        </pc:sldMkLst>
      </pc:sldChg>
      <pc:sldChg chg="modSp mod">
        <pc:chgData name="Courtney Tenhover" userId="ae2cf505-6387-4cc4-9e8f-d6c2096d9cc9" providerId="ADAL" clId="{517A0F84-176D-4A9C-A3EC-12F474F33FE1}" dt="2025-05-19T20:00:29.838" v="23" actId="20577"/>
        <pc:sldMkLst>
          <pc:docMk/>
          <pc:sldMk cId="1852842187" sldId="2147468198"/>
        </pc:sldMkLst>
        <pc:spChg chg="mod">
          <ac:chgData name="Courtney Tenhover" userId="ae2cf505-6387-4cc4-9e8f-d6c2096d9cc9" providerId="ADAL" clId="{517A0F84-176D-4A9C-A3EC-12F474F33FE1}" dt="2025-05-19T20:00:29.838" v="23" actId="20577"/>
          <ac:spMkLst>
            <pc:docMk/>
            <pc:sldMk cId="1852842187" sldId="2147468198"/>
            <ac:spMk id="8" creationId="{7D5855B0-C4B5-487B-8555-94B567121885}"/>
          </ac:spMkLst>
        </pc:spChg>
      </pc:sldChg>
      <pc:sldChg chg="del">
        <pc:chgData name="Courtney Tenhover" userId="ae2cf505-6387-4cc4-9e8f-d6c2096d9cc9" providerId="ADAL" clId="{517A0F84-176D-4A9C-A3EC-12F474F33FE1}" dt="2025-05-19T20:00:03.358" v="4" actId="47"/>
        <pc:sldMkLst>
          <pc:docMk/>
          <pc:sldMk cId="3973564033" sldId="2147468199"/>
        </pc:sldMkLst>
      </pc:sldChg>
      <pc:sldChg chg="del">
        <pc:chgData name="Courtney Tenhover" userId="ae2cf505-6387-4cc4-9e8f-d6c2096d9cc9" providerId="ADAL" clId="{517A0F84-176D-4A9C-A3EC-12F474F33FE1}" dt="2025-05-19T20:00:04.294" v="5" actId="47"/>
        <pc:sldMkLst>
          <pc:docMk/>
          <pc:sldMk cId="3630310611" sldId="2147468200"/>
        </pc:sldMkLst>
      </pc:sldChg>
      <pc:sldChg chg="addSp delSp modSp add mod">
        <pc:chgData name="Courtney Tenhover" userId="ae2cf505-6387-4cc4-9e8f-d6c2096d9cc9" providerId="ADAL" clId="{517A0F84-176D-4A9C-A3EC-12F474F33FE1}" dt="2025-05-19T20:13:52.979" v="312" actId="1076"/>
        <pc:sldMkLst>
          <pc:docMk/>
          <pc:sldMk cId="3659084142" sldId="2147477336"/>
        </pc:sldMkLst>
        <pc:spChg chg="mod">
          <ac:chgData name="Courtney Tenhover" userId="ae2cf505-6387-4cc4-9e8f-d6c2096d9cc9" providerId="ADAL" clId="{517A0F84-176D-4A9C-A3EC-12F474F33FE1}" dt="2025-05-19T20:09:57.851" v="164" actId="1076"/>
          <ac:spMkLst>
            <pc:docMk/>
            <pc:sldMk cId="3659084142" sldId="2147477336"/>
            <ac:spMk id="2" creationId="{00000000-0000-0000-0000-000000000000}"/>
          </ac:spMkLst>
        </pc:spChg>
        <pc:spChg chg="del">
          <ac:chgData name="Courtney Tenhover" userId="ae2cf505-6387-4cc4-9e8f-d6c2096d9cc9" providerId="ADAL" clId="{517A0F84-176D-4A9C-A3EC-12F474F33FE1}" dt="2025-05-19T20:08:36.291" v="108" actId="478"/>
          <ac:spMkLst>
            <pc:docMk/>
            <pc:sldMk cId="3659084142" sldId="2147477336"/>
            <ac:spMk id="3" creationId="{00000000-0000-0000-0000-000000000000}"/>
          </ac:spMkLst>
        </pc:spChg>
        <pc:spChg chg="add mod">
          <ac:chgData name="Courtney Tenhover" userId="ae2cf505-6387-4cc4-9e8f-d6c2096d9cc9" providerId="ADAL" clId="{517A0F84-176D-4A9C-A3EC-12F474F33FE1}" dt="2025-05-19T20:13:38.202" v="306" actId="1076"/>
          <ac:spMkLst>
            <pc:docMk/>
            <pc:sldMk cId="3659084142" sldId="2147477336"/>
            <ac:spMk id="7" creationId="{BE9A7957-4C81-4345-8B7B-408D65E2D464}"/>
          </ac:spMkLst>
        </pc:spChg>
        <pc:spChg chg="add mod">
          <ac:chgData name="Courtney Tenhover" userId="ae2cf505-6387-4cc4-9e8f-d6c2096d9cc9" providerId="ADAL" clId="{517A0F84-176D-4A9C-A3EC-12F474F33FE1}" dt="2025-05-19T20:13:46.379" v="309" actId="1076"/>
          <ac:spMkLst>
            <pc:docMk/>
            <pc:sldMk cId="3659084142" sldId="2147477336"/>
            <ac:spMk id="8" creationId="{8A6AC707-B5BF-4D79-85E0-87892C1E99A0}"/>
          </ac:spMkLst>
        </pc:spChg>
        <pc:spChg chg="add mod">
          <ac:chgData name="Courtney Tenhover" userId="ae2cf505-6387-4cc4-9e8f-d6c2096d9cc9" providerId="ADAL" clId="{517A0F84-176D-4A9C-A3EC-12F474F33FE1}" dt="2025-05-19T20:13:43.620" v="308" actId="1076"/>
          <ac:spMkLst>
            <pc:docMk/>
            <pc:sldMk cId="3659084142" sldId="2147477336"/>
            <ac:spMk id="9" creationId="{0063C8EB-104F-42DD-8646-41C40AFB5842}"/>
          </ac:spMkLst>
        </pc:spChg>
        <pc:spChg chg="del">
          <ac:chgData name="Courtney Tenhover" userId="ae2cf505-6387-4cc4-9e8f-d6c2096d9cc9" providerId="ADAL" clId="{517A0F84-176D-4A9C-A3EC-12F474F33FE1}" dt="2025-05-19T20:08:34.931" v="106" actId="478"/>
          <ac:spMkLst>
            <pc:docMk/>
            <pc:sldMk cId="3659084142" sldId="2147477336"/>
            <ac:spMk id="38" creationId="{00000000-0000-0000-0000-000000000000}"/>
          </ac:spMkLst>
        </pc:spChg>
        <pc:picChg chg="del">
          <ac:chgData name="Courtney Tenhover" userId="ae2cf505-6387-4cc4-9e8f-d6c2096d9cc9" providerId="ADAL" clId="{517A0F84-176D-4A9C-A3EC-12F474F33FE1}" dt="2025-05-19T20:08:35.491" v="107" actId="478"/>
          <ac:picMkLst>
            <pc:docMk/>
            <pc:sldMk cId="3659084142" sldId="2147477336"/>
            <ac:picMk id="4" creationId="{FC39D16C-0838-5033-2EE5-555E2B490619}"/>
          </ac:picMkLst>
        </pc:picChg>
        <pc:picChg chg="add mod modCrop">
          <ac:chgData name="Courtney Tenhover" userId="ae2cf505-6387-4cc4-9e8f-d6c2096d9cc9" providerId="ADAL" clId="{517A0F84-176D-4A9C-A3EC-12F474F33FE1}" dt="2025-05-19T20:09:34.386" v="116" actId="1076"/>
          <ac:picMkLst>
            <pc:docMk/>
            <pc:sldMk cId="3659084142" sldId="2147477336"/>
            <ac:picMk id="6" creationId="{5C5B6A5F-9320-4587-AD6E-EFE960ED3840}"/>
          </ac:picMkLst>
        </pc:picChg>
        <pc:picChg chg="add mod">
          <ac:chgData name="Courtney Tenhover" userId="ae2cf505-6387-4cc4-9e8f-d6c2096d9cc9" providerId="ADAL" clId="{517A0F84-176D-4A9C-A3EC-12F474F33FE1}" dt="2025-05-19T20:13:50.056" v="311" actId="1076"/>
          <ac:picMkLst>
            <pc:docMk/>
            <pc:sldMk cId="3659084142" sldId="2147477336"/>
            <ac:picMk id="11" creationId="{54894B6A-BE01-4BC4-9DD5-D789F1587C62}"/>
          </ac:picMkLst>
        </pc:picChg>
        <pc:picChg chg="mod">
          <ac:chgData name="Courtney Tenhover" userId="ae2cf505-6387-4cc4-9e8f-d6c2096d9cc9" providerId="ADAL" clId="{517A0F84-176D-4A9C-A3EC-12F474F33FE1}" dt="2025-05-19T20:13:52.979" v="312" actId="1076"/>
          <ac:picMkLst>
            <pc:docMk/>
            <pc:sldMk cId="3659084142" sldId="2147477336"/>
            <ac:picMk id="54" creationId="{3067D24A-1042-4329-83B8-3078934EFA11}"/>
          </ac:picMkLst>
        </pc:picChg>
      </pc:sldChg>
      <pc:sldMasterChg chg="del delSldLayout">
        <pc:chgData name="Courtney Tenhover" userId="ae2cf505-6387-4cc4-9e8f-d6c2096d9cc9" providerId="ADAL" clId="{517A0F84-176D-4A9C-A3EC-12F474F33FE1}" dt="2025-05-19T20:00:34.396" v="24" actId="47"/>
        <pc:sldMasterMkLst>
          <pc:docMk/>
          <pc:sldMasterMk cId="1951071635" sldId="2147483724"/>
        </pc:sldMasterMkLst>
        <pc:sldLayoutChg chg="del">
          <pc:chgData name="Courtney Tenhover" userId="ae2cf505-6387-4cc4-9e8f-d6c2096d9cc9" providerId="ADAL" clId="{517A0F84-176D-4A9C-A3EC-12F474F33FE1}" dt="2025-05-19T20:00:34.396" v="24" actId="47"/>
          <pc:sldLayoutMkLst>
            <pc:docMk/>
            <pc:sldMasterMk cId="1951071635" sldId="2147483724"/>
            <pc:sldLayoutMk cId="3668079258" sldId="2147483725"/>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3787688748" sldId="2147483726"/>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2951070855" sldId="2147483727"/>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3328660584" sldId="2147483728"/>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1407851129" sldId="2147483729"/>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177525671" sldId="2147483730"/>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1343515834" sldId="2147483731"/>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645943663" sldId="2147483732"/>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2202319199" sldId="2147483733"/>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2002322390" sldId="2147483734"/>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1661614483" sldId="2147483735"/>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2428364773" sldId="2147483736"/>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3641462107" sldId="2147483737"/>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1472112679" sldId="2147483738"/>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1392947438" sldId="2147483739"/>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1596611108" sldId="2147483740"/>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3956884830" sldId="2147483741"/>
          </pc:sldLayoutMkLst>
        </pc:sldLayoutChg>
        <pc:sldLayoutChg chg="del">
          <pc:chgData name="Courtney Tenhover" userId="ae2cf505-6387-4cc4-9e8f-d6c2096d9cc9" providerId="ADAL" clId="{517A0F84-176D-4A9C-A3EC-12F474F33FE1}" dt="2025-05-19T20:00:34.396" v="24" actId="47"/>
          <pc:sldLayoutMkLst>
            <pc:docMk/>
            <pc:sldMasterMk cId="1951071635" sldId="2147483724"/>
            <pc:sldLayoutMk cId="1332005008" sldId="2147483742"/>
          </pc:sldLayoutMkLst>
        </pc:sldLayoutChg>
      </pc:sldMasterChg>
    </pc:docChg>
  </pc:docChgLst>
</pc:chgInfo>
</file>

<file path=ppt/diagrams/_rels/data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svg"/><Relationship Id="rId1" Type="http://schemas.openxmlformats.org/officeDocument/2006/relationships/image" Target="../media/image103.png"/><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diagrams/_rels/data6.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image" Target="../media/image113.svg"/><Relationship Id="rId1" Type="http://schemas.openxmlformats.org/officeDocument/2006/relationships/image" Target="../media/image112.png"/><Relationship Id="rId6" Type="http://schemas.openxmlformats.org/officeDocument/2006/relationships/image" Target="../media/image117.svg"/><Relationship Id="rId5" Type="http://schemas.openxmlformats.org/officeDocument/2006/relationships/image" Target="../media/image116.png"/><Relationship Id="rId10" Type="http://schemas.openxmlformats.org/officeDocument/2006/relationships/image" Target="../media/image121.svg"/><Relationship Id="rId4" Type="http://schemas.openxmlformats.org/officeDocument/2006/relationships/image" Target="../media/image115.svg"/><Relationship Id="rId9" Type="http://schemas.openxmlformats.org/officeDocument/2006/relationships/image" Target="../media/image120.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svg"/><Relationship Id="rId1" Type="http://schemas.openxmlformats.org/officeDocument/2006/relationships/image" Target="../media/image103.png"/><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diagrams/_rels/drawing6.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image" Target="../media/image113.svg"/><Relationship Id="rId1" Type="http://schemas.openxmlformats.org/officeDocument/2006/relationships/image" Target="../media/image112.png"/><Relationship Id="rId6" Type="http://schemas.openxmlformats.org/officeDocument/2006/relationships/image" Target="../media/image117.svg"/><Relationship Id="rId5" Type="http://schemas.openxmlformats.org/officeDocument/2006/relationships/image" Target="../media/image116.png"/><Relationship Id="rId10" Type="http://schemas.openxmlformats.org/officeDocument/2006/relationships/image" Target="../media/image121.svg"/><Relationship Id="rId4" Type="http://schemas.openxmlformats.org/officeDocument/2006/relationships/image" Target="../media/image115.svg"/><Relationship Id="rId9" Type="http://schemas.openxmlformats.org/officeDocument/2006/relationships/image" Target="../media/image12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A88956C-C0E0-4E54-B71E-B8A41F3EEDF7}" type="doc">
      <dgm:prSet loTypeId="urn:microsoft.com/office/officeart/2016/7/layout/BasicTimeline" loCatId="timeline" qsTypeId="urn:microsoft.com/office/officeart/2005/8/quickstyle/simple1" qsCatId="simple" csTypeId="urn:microsoft.com/office/officeart/2005/8/colors/accent1_2" csCatId="accent1" phldr="1"/>
      <dgm:spPr/>
      <dgm:t>
        <a:bodyPr/>
        <a:lstStyle/>
        <a:p>
          <a:endParaRPr lang="en-US"/>
        </a:p>
      </dgm:t>
    </dgm:pt>
    <dgm:pt modelId="{158F8264-A6E4-4CFB-8908-73A8587C4454}">
      <dgm:prSet phldrT="[Text]" phldr="0"/>
      <dgm:spPr/>
      <dgm:t>
        <a:bodyPr/>
        <a:lstStyle/>
        <a:p>
          <a:r>
            <a:rPr lang="en-US" b="1" dirty="0">
              <a:latin typeface="Aptos Display" panose="020F0302020204030204"/>
            </a:rPr>
            <a:t>NNME infrastructure built</a:t>
          </a:r>
          <a:endParaRPr lang="en-US" b="1" dirty="0"/>
        </a:p>
      </dgm:t>
    </dgm:pt>
    <dgm:pt modelId="{0A891388-08D1-4B5C-8780-4D000B48A7B8}" type="parTrans" cxnId="{C55A432A-54D2-46B6-BCDB-306138C1710C}">
      <dgm:prSet/>
      <dgm:spPr/>
      <dgm:t>
        <a:bodyPr/>
        <a:lstStyle/>
        <a:p>
          <a:endParaRPr lang="en-US"/>
        </a:p>
      </dgm:t>
    </dgm:pt>
    <dgm:pt modelId="{44301F5E-1C48-4374-B4B3-77917D97D2C4}" type="sibTrans" cxnId="{C55A432A-54D2-46B6-BCDB-306138C1710C}">
      <dgm:prSet/>
      <dgm:spPr/>
      <dgm:t>
        <a:bodyPr/>
        <a:lstStyle/>
        <a:p>
          <a:endParaRPr lang="en-US"/>
        </a:p>
      </dgm:t>
    </dgm:pt>
    <dgm:pt modelId="{1CA03F00-31E5-427F-8FE5-2FAEC4806B43}">
      <dgm:prSet phldrT="[Text]" phldr="0"/>
      <dgm:spPr/>
      <dgm:t>
        <a:bodyPr/>
        <a:lstStyle/>
        <a:p>
          <a:r>
            <a:rPr lang="en-US" b="1">
              <a:latin typeface="Aptos Display" panose="020F0302020204030204"/>
            </a:rPr>
            <a:t>Node Competition</a:t>
          </a:r>
          <a:endParaRPr lang="en-US" b="1"/>
        </a:p>
      </dgm:t>
    </dgm:pt>
    <dgm:pt modelId="{2B11CA15-4464-492D-8040-FB157FEBF3E3}" type="parTrans" cxnId="{1E33D356-7F88-4161-A56C-CF60AF55C7EF}">
      <dgm:prSet/>
      <dgm:spPr/>
      <dgm:t>
        <a:bodyPr/>
        <a:lstStyle/>
        <a:p>
          <a:endParaRPr lang="en-US"/>
        </a:p>
      </dgm:t>
    </dgm:pt>
    <dgm:pt modelId="{AE984B3E-1BB5-44C5-8D51-9FF82AD95BFB}" type="sibTrans" cxnId="{1E33D356-7F88-4161-A56C-CF60AF55C7EF}">
      <dgm:prSet/>
      <dgm:spPr/>
      <dgm:t>
        <a:bodyPr/>
        <a:lstStyle/>
        <a:p>
          <a:endParaRPr lang="en-US"/>
        </a:p>
      </dgm:t>
    </dgm:pt>
    <dgm:pt modelId="{4217733C-3A47-4632-AFCB-44E2550E15D7}">
      <dgm:prSet phldrT="[Text]" phldr="0"/>
      <dgm:spPr/>
      <dgm:t>
        <a:bodyPr/>
        <a:lstStyle/>
        <a:p>
          <a:r>
            <a:rPr lang="en-US" b="1">
              <a:latin typeface="Aptos Display" panose="020F0302020204030204"/>
            </a:rPr>
            <a:t>Buildout of web presence and portals</a:t>
          </a:r>
          <a:endParaRPr lang="en-US" b="1"/>
        </a:p>
      </dgm:t>
    </dgm:pt>
    <dgm:pt modelId="{7951E51A-2690-4D31-8E24-43301BD71247}" type="parTrans" cxnId="{7BA4A68D-458F-442F-9D3E-83542912CB57}">
      <dgm:prSet/>
      <dgm:spPr/>
      <dgm:t>
        <a:bodyPr/>
        <a:lstStyle/>
        <a:p>
          <a:endParaRPr lang="en-US"/>
        </a:p>
      </dgm:t>
    </dgm:pt>
    <dgm:pt modelId="{4F1890A1-488F-4D71-AC83-6F28A5BB605A}" type="sibTrans" cxnId="{7BA4A68D-458F-442F-9D3E-83542912CB57}">
      <dgm:prSet/>
      <dgm:spPr/>
      <dgm:t>
        <a:bodyPr/>
        <a:lstStyle/>
        <a:p>
          <a:endParaRPr lang="en-US"/>
        </a:p>
      </dgm:t>
    </dgm:pt>
    <dgm:pt modelId="{C71D9A31-A3D4-4128-B688-149E6AF5D5D0}">
      <dgm:prSet phldrT="[Text]" phldr="0"/>
      <dgm:spPr/>
      <dgm:t>
        <a:bodyPr/>
        <a:lstStyle/>
        <a:p>
          <a:r>
            <a:rPr lang="en-US" b="1">
              <a:latin typeface="Aptos Display" panose="020F0302020204030204"/>
            </a:rPr>
            <a:t>Nodes Selected</a:t>
          </a:r>
          <a:endParaRPr lang="en-US" b="1"/>
        </a:p>
      </dgm:t>
    </dgm:pt>
    <dgm:pt modelId="{39D5DE04-1333-40BF-8152-2171386453D8}" type="parTrans" cxnId="{F10CF75A-81D9-4772-A8D4-29A51F9AF0C5}">
      <dgm:prSet/>
      <dgm:spPr/>
      <dgm:t>
        <a:bodyPr/>
        <a:lstStyle/>
        <a:p>
          <a:endParaRPr lang="en-US"/>
        </a:p>
      </dgm:t>
    </dgm:pt>
    <dgm:pt modelId="{C8E9C9DE-2BED-4364-9103-9101D4D02E90}" type="sibTrans" cxnId="{F10CF75A-81D9-4772-A8D4-29A51F9AF0C5}">
      <dgm:prSet/>
      <dgm:spPr/>
      <dgm:t>
        <a:bodyPr/>
        <a:lstStyle/>
        <a:p>
          <a:endParaRPr lang="en-US"/>
        </a:p>
      </dgm:t>
    </dgm:pt>
    <dgm:pt modelId="{C0E03006-254B-4F9D-9324-951611B0675D}">
      <dgm:prSet phldrT="[Text]" phldr="0"/>
      <dgm:spPr/>
      <dgm:t>
        <a:bodyPr/>
        <a:lstStyle/>
        <a:p>
          <a:r>
            <a:rPr lang="en-US" b="1">
              <a:latin typeface="Aptos Display" panose="020F0302020204030204"/>
            </a:rPr>
            <a:t>Industry awareness campaign fully launched</a:t>
          </a:r>
          <a:endParaRPr lang="en-US" b="1"/>
        </a:p>
      </dgm:t>
    </dgm:pt>
    <dgm:pt modelId="{829908C0-C327-4A79-8B75-11889AA4FACF}" type="parTrans" cxnId="{29C67E0C-5CF4-4FA3-89BC-BFE474A5FCEA}">
      <dgm:prSet/>
      <dgm:spPr/>
      <dgm:t>
        <a:bodyPr/>
        <a:lstStyle/>
        <a:p>
          <a:endParaRPr lang="en-US"/>
        </a:p>
      </dgm:t>
    </dgm:pt>
    <dgm:pt modelId="{3295449A-A6CC-4619-9B70-176BE25BF4B9}" type="sibTrans" cxnId="{29C67E0C-5CF4-4FA3-89BC-BFE474A5FCEA}">
      <dgm:prSet/>
      <dgm:spPr/>
      <dgm:t>
        <a:bodyPr/>
        <a:lstStyle/>
        <a:p>
          <a:endParaRPr lang="en-US"/>
        </a:p>
      </dgm:t>
    </dgm:pt>
    <dgm:pt modelId="{DDAD741C-6C6D-49AB-A39B-7A0FF7FB6ED0}">
      <dgm:prSet phldrT="[Text]" phldr="0"/>
      <dgm:spPr/>
      <dgm:t>
        <a:bodyPr/>
        <a:lstStyle/>
        <a:p>
          <a:pPr>
            <a:defRPr b="1"/>
          </a:pPr>
          <a:r>
            <a:rPr lang="en-US" b="1">
              <a:latin typeface="Aptos Display" panose="020F0302020204030204"/>
            </a:rPr>
            <a:t>Q4</a:t>
          </a:r>
          <a:endParaRPr lang="en-US" b="1"/>
        </a:p>
      </dgm:t>
    </dgm:pt>
    <dgm:pt modelId="{A8F81993-F58D-47BA-A489-A9777D259C98}" type="parTrans" cxnId="{B1D46A73-EB96-409D-8EAA-EDA90092BB08}">
      <dgm:prSet/>
      <dgm:spPr/>
      <dgm:t>
        <a:bodyPr/>
        <a:lstStyle/>
        <a:p>
          <a:endParaRPr lang="en-US"/>
        </a:p>
      </dgm:t>
    </dgm:pt>
    <dgm:pt modelId="{1D8F6FC3-6F80-4B52-B8F9-5A5EC5822A54}" type="sibTrans" cxnId="{B1D46A73-EB96-409D-8EAA-EDA90092BB08}">
      <dgm:prSet/>
      <dgm:spPr/>
      <dgm:t>
        <a:bodyPr/>
        <a:lstStyle/>
        <a:p>
          <a:endParaRPr lang="en-US"/>
        </a:p>
      </dgm:t>
    </dgm:pt>
    <dgm:pt modelId="{7E78AEEC-D7F1-4B14-81A0-F5C65D017A5A}">
      <dgm:prSet phldr="0"/>
      <dgm:spPr/>
      <dgm:t>
        <a:bodyPr/>
        <a:lstStyle/>
        <a:p>
          <a:r>
            <a:rPr lang="en-US" b="1">
              <a:latin typeface="Aptos Display" panose="020F0302020204030204"/>
            </a:rPr>
            <a:t>NNME Team Hired</a:t>
          </a:r>
          <a:endParaRPr lang="en-US" b="1"/>
        </a:p>
      </dgm:t>
    </dgm:pt>
    <dgm:pt modelId="{283463EF-8481-4791-8C96-B6B7B95C99E8}" type="parTrans" cxnId="{E5AA60A2-E9BB-4B78-80E0-41500B19D564}">
      <dgm:prSet/>
      <dgm:spPr/>
      <dgm:t>
        <a:bodyPr/>
        <a:lstStyle/>
        <a:p>
          <a:endParaRPr lang="en-US"/>
        </a:p>
      </dgm:t>
    </dgm:pt>
    <dgm:pt modelId="{E86BEEC0-E5FF-419E-A140-05B065937B64}" type="sibTrans" cxnId="{E5AA60A2-E9BB-4B78-80E0-41500B19D564}">
      <dgm:prSet/>
      <dgm:spPr/>
      <dgm:t>
        <a:bodyPr/>
        <a:lstStyle/>
        <a:p>
          <a:endParaRPr lang="en-US"/>
        </a:p>
      </dgm:t>
    </dgm:pt>
    <dgm:pt modelId="{410EED11-6D2F-48CE-8F50-B4A88EC3824D}">
      <dgm:prSet phldr="0"/>
      <dgm:spPr/>
      <dgm:t>
        <a:bodyPr/>
        <a:lstStyle/>
        <a:p>
          <a:pPr>
            <a:defRPr b="1"/>
          </a:pPr>
          <a:r>
            <a:rPr lang="en-US" b="1">
              <a:latin typeface="Aptos Display" panose="020F0302020204030204"/>
            </a:rPr>
            <a:t>Q1</a:t>
          </a:r>
        </a:p>
      </dgm:t>
    </dgm:pt>
    <dgm:pt modelId="{44E7C450-1743-4AC2-8C0B-B198173CBFB3}" type="parTrans" cxnId="{B64520D0-41F5-4E36-8132-6E986E404F38}">
      <dgm:prSet/>
      <dgm:spPr/>
      <dgm:t>
        <a:bodyPr/>
        <a:lstStyle/>
        <a:p>
          <a:endParaRPr lang="en-US"/>
        </a:p>
      </dgm:t>
    </dgm:pt>
    <dgm:pt modelId="{9625D120-AB90-4969-97A7-8A1FDB40FC5F}" type="sibTrans" cxnId="{B64520D0-41F5-4E36-8132-6E986E404F38}">
      <dgm:prSet/>
      <dgm:spPr/>
      <dgm:t>
        <a:bodyPr/>
        <a:lstStyle/>
        <a:p>
          <a:endParaRPr lang="en-US"/>
        </a:p>
      </dgm:t>
    </dgm:pt>
    <dgm:pt modelId="{3CFC03F5-BF14-43B5-9BB9-C7AF31E52005}">
      <dgm:prSet phldr="0"/>
      <dgm:spPr/>
      <dgm:t>
        <a:bodyPr/>
        <a:lstStyle/>
        <a:p>
          <a:pPr>
            <a:defRPr b="1"/>
          </a:pPr>
          <a:r>
            <a:rPr lang="en-US" b="1">
              <a:latin typeface="Aptos Display" panose="020F0302020204030204"/>
            </a:rPr>
            <a:t>Q1</a:t>
          </a:r>
        </a:p>
      </dgm:t>
    </dgm:pt>
    <dgm:pt modelId="{267F4BCD-C95E-4ACD-960E-DB4374E66DC4}" type="parTrans" cxnId="{32A9899A-77F9-4506-A921-FB72976BC0E0}">
      <dgm:prSet/>
      <dgm:spPr/>
      <dgm:t>
        <a:bodyPr/>
        <a:lstStyle/>
        <a:p>
          <a:endParaRPr lang="en-US"/>
        </a:p>
      </dgm:t>
    </dgm:pt>
    <dgm:pt modelId="{1821C12C-2BF3-40F2-84F0-A07F6AF863EB}" type="sibTrans" cxnId="{32A9899A-77F9-4506-A921-FB72976BC0E0}">
      <dgm:prSet/>
      <dgm:spPr/>
      <dgm:t>
        <a:bodyPr/>
        <a:lstStyle/>
        <a:p>
          <a:endParaRPr lang="en-US"/>
        </a:p>
      </dgm:t>
    </dgm:pt>
    <dgm:pt modelId="{71A217F8-F2EE-4AEE-A524-C607F2BBE755}">
      <dgm:prSet phldr="0"/>
      <dgm:spPr/>
      <dgm:t>
        <a:bodyPr/>
        <a:lstStyle/>
        <a:p>
          <a:pPr>
            <a:defRPr b="1"/>
          </a:pPr>
          <a:r>
            <a:rPr lang="en-US" b="1">
              <a:latin typeface="Aptos Display" panose="020F0302020204030204"/>
            </a:rPr>
            <a:t>Q2</a:t>
          </a:r>
        </a:p>
      </dgm:t>
    </dgm:pt>
    <dgm:pt modelId="{B1296E37-774D-4C9D-B5B2-29CF0B28F5A2}" type="parTrans" cxnId="{481A583C-1519-44EC-AD8E-0B38AF0911BA}">
      <dgm:prSet/>
      <dgm:spPr/>
      <dgm:t>
        <a:bodyPr/>
        <a:lstStyle/>
        <a:p>
          <a:endParaRPr lang="en-US"/>
        </a:p>
      </dgm:t>
    </dgm:pt>
    <dgm:pt modelId="{E460CAB9-8591-40CC-85E9-FA13A9EFA501}" type="sibTrans" cxnId="{481A583C-1519-44EC-AD8E-0B38AF0911BA}">
      <dgm:prSet/>
      <dgm:spPr/>
      <dgm:t>
        <a:bodyPr/>
        <a:lstStyle/>
        <a:p>
          <a:endParaRPr lang="en-US"/>
        </a:p>
      </dgm:t>
    </dgm:pt>
    <dgm:pt modelId="{FE44639F-E4FE-4044-94F4-F8995BF325FE}">
      <dgm:prSet phldr="0"/>
      <dgm:spPr/>
      <dgm:t>
        <a:bodyPr/>
        <a:lstStyle/>
        <a:p>
          <a:pPr>
            <a:defRPr b="1"/>
          </a:pPr>
          <a:r>
            <a:rPr lang="en-US" b="1">
              <a:latin typeface="Aptos Display" panose="020F0302020204030204"/>
            </a:rPr>
            <a:t>Q2</a:t>
          </a:r>
        </a:p>
      </dgm:t>
    </dgm:pt>
    <dgm:pt modelId="{64A68213-3579-47E8-849A-016950E69D14}" type="parTrans" cxnId="{C31EE43D-E224-454F-9145-FB32C9F02DAF}">
      <dgm:prSet/>
      <dgm:spPr/>
      <dgm:t>
        <a:bodyPr/>
        <a:lstStyle/>
        <a:p>
          <a:endParaRPr lang="en-US"/>
        </a:p>
      </dgm:t>
    </dgm:pt>
    <dgm:pt modelId="{CCF513BC-DF64-4FD4-9739-E46F7F654815}" type="sibTrans" cxnId="{C31EE43D-E224-454F-9145-FB32C9F02DAF}">
      <dgm:prSet/>
      <dgm:spPr/>
      <dgm:t>
        <a:bodyPr/>
        <a:lstStyle/>
        <a:p>
          <a:endParaRPr lang="en-US"/>
        </a:p>
      </dgm:t>
    </dgm:pt>
    <dgm:pt modelId="{C6EF032F-9292-42CE-A9BD-D9405FA22CAD}">
      <dgm:prSet phldr="0"/>
      <dgm:spPr/>
      <dgm:t>
        <a:bodyPr/>
        <a:lstStyle/>
        <a:p>
          <a:pPr>
            <a:defRPr b="1"/>
          </a:pPr>
          <a:r>
            <a:rPr lang="en-US" b="1">
              <a:latin typeface="Aptos Display" panose="020F0302020204030204"/>
            </a:rPr>
            <a:t>Q3</a:t>
          </a:r>
        </a:p>
      </dgm:t>
    </dgm:pt>
    <dgm:pt modelId="{6F5BA288-3B8B-4B5B-9DC5-A260F2C08629}" type="parTrans" cxnId="{32583B20-F4AA-4BC8-ADFB-2ACFB23F613B}">
      <dgm:prSet/>
      <dgm:spPr/>
      <dgm:t>
        <a:bodyPr/>
        <a:lstStyle/>
        <a:p>
          <a:endParaRPr lang="en-US"/>
        </a:p>
      </dgm:t>
    </dgm:pt>
    <dgm:pt modelId="{125A7819-363F-4555-8F96-20C79B33CCE8}" type="sibTrans" cxnId="{32583B20-F4AA-4BC8-ADFB-2ACFB23F613B}">
      <dgm:prSet/>
      <dgm:spPr/>
      <dgm:t>
        <a:bodyPr/>
        <a:lstStyle/>
        <a:p>
          <a:endParaRPr lang="en-US"/>
        </a:p>
      </dgm:t>
    </dgm:pt>
    <dgm:pt modelId="{20925219-0D0E-4FA1-81C7-0112E5D47137}">
      <dgm:prSet phldr="0"/>
      <dgm:spPr/>
      <dgm:t>
        <a:bodyPr/>
        <a:lstStyle/>
        <a:p>
          <a:pPr>
            <a:defRPr b="1"/>
          </a:pPr>
          <a:r>
            <a:rPr lang="en-US" b="1">
              <a:latin typeface="Aptos Display" panose="020F0302020204030204"/>
            </a:rPr>
            <a:t>Q2 </a:t>
          </a:r>
        </a:p>
      </dgm:t>
    </dgm:pt>
    <dgm:pt modelId="{FB0C7CFE-C124-40EF-B3BA-AA27E6F9C4BF}" type="parTrans" cxnId="{91A9FC57-1401-4E33-B0FC-A525DB4C34E6}">
      <dgm:prSet/>
      <dgm:spPr/>
      <dgm:t>
        <a:bodyPr/>
        <a:lstStyle/>
        <a:p>
          <a:endParaRPr lang="en-US"/>
        </a:p>
      </dgm:t>
    </dgm:pt>
    <dgm:pt modelId="{75095F22-7782-40C1-9BB0-3BA18ACD76D8}" type="sibTrans" cxnId="{91A9FC57-1401-4E33-B0FC-A525DB4C34E6}">
      <dgm:prSet/>
      <dgm:spPr/>
      <dgm:t>
        <a:bodyPr/>
        <a:lstStyle/>
        <a:p>
          <a:endParaRPr lang="en-US"/>
        </a:p>
      </dgm:t>
    </dgm:pt>
    <dgm:pt modelId="{E086656D-943F-4B1B-9867-D66808385F9A}">
      <dgm:prSet phldr="0"/>
      <dgm:spPr/>
      <dgm:t>
        <a:bodyPr/>
        <a:lstStyle/>
        <a:p>
          <a:r>
            <a:rPr lang="en-US" b="1">
              <a:latin typeface="Aptos Display" panose="020F0302020204030204"/>
            </a:rPr>
            <a:t>Governance boards established</a:t>
          </a:r>
        </a:p>
      </dgm:t>
    </dgm:pt>
    <dgm:pt modelId="{4F703516-0D43-4AB3-B9A4-B2067EBD24D8}" type="parTrans" cxnId="{2F642EAC-7F44-4AFD-81ED-02EAC1F86FB2}">
      <dgm:prSet/>
      <dgm:spPr/>
      <dgm:t>
        <a:bodyPr/>
        <a:lstStyle/>
        <a:p>
          <a:endParaRPr lang="en-US"/>
        </a:p>
      </dgm:t>
    </dgm:pt>
    <dgm:pt modelId="{F310D486-7974-4A43-9DEF-51B2DFAF3A89}" type="sibTrans" cxnId="{2F642EAC-7F44-4AFD-81ED-02EAC1F86FB2}">
      <dgm:prSet/>
      <dgm:spPr/>
      <dgm:t>
        <a:bodyPr/>
        <a:lstStyle/>
        <a:p>
          <a:endParaRPr lang="en-US"/>
        </a:p>
      </dgm:t>
    </dgm:pt>
    <dgm:pt modelId="{ACEE0283-2499-4D69-B3C2-F2450F4B6894}">
      <dgm:prSet phldr="0"/>
      <dgm:spPr/>
      <dgm:t>
        <a:bodyPr/>
        <a:lstStyle/>
        <a:p>
          <a:pPr>
            <a:defRPr b="1"/>
          </a:pPr>
          <a:r>
            <a:rPr lang="en-US" b="1">
              <a:latin typeface="Aptos Display" panose="020F0302020204030204"/>
            </a:rPr>
            <a:t>Q3</a:t>
          </a:r>
        </a:p>
      </dgm:t>
    </dgm:pt>
    <dgm:pt modelId="{74BECB10-7047-4D2E-A2C5-5EE039FC7450}" type="parTrans" cxnId="{520D9C89-2940-457F-8C75-61DB4298F942}">
      <dgm:prSet/>
      <dgm:spPr/>
      <dgm:t>
        <a:bodyPr/>
        <a:lstStyle/>
        <a:p>
          <a:endParaRPr lang="en-US"/>
        </a:p>
      </dgm:t>
    </dgm:pt>
    <dgm:pt modelId="{B2F78E3B-1DE9-414E-A2C3-C8A5896F2AC4}" type="sibTrans" cxnId="{520D9C89-2940-457F-8C75-61DB4298F942}">
      <dgm:prSet/>
      <dgm:spPr/>
      <dgm:t>
        <a:bodyPr/>
        <a:lstStyle/>
        <a:p>
          <a:endParaRPr lang="en-US"/>
        </a:p>
      </dgm:t>
    </dgm:pt>
    <dgm:pt modelId="{B8ACFAE5-1E77-4652-B073-F6750AF78D7C}">
      <dgm:prSet phldr="0"/>
      <dgm:spPr/>
      <dgm:t>
        <a:bodyPr/>
        <a:lstStyle/>
        <a:p>
          <a:r>
            <a:rPr lang="en-US" b="1">
              <a:latin typeface="Aptos Display" panose="020F0302020204030204"/>
            </a:rPr>
            <a:t>Media campaign underway</a:t>
          </a:r>
        </a:p>
      </dgm:t>
    </dgm:pt>
    <dgm:pt modelId="{2597F28F-379F-46CB-84CD-357014B9328F}" type="parTrans" cxnId="{741E8C42-F513-4930-9AE9-9FB0F6C0AD66}">
      <dgm:prSet/>
      <dgm:spPr/>
      <dgm:t>
        <a:bodyPr/>
        <a:lstStyle/>
        <a:p>
          <a:endParaRPr lang="en-US"/>
        </a:p>
      </dgm:t>
    </dgm:pt>
    <dgm:pt modelId="{5A4000FA-51B3-4216-94E9-78C8FE77B339}" type="sibTrans" cxnId="{741E8C42-F513-4930-9AE9-9FB0F6C0AD66}">
      <dgm:prSet/>
      <dgm:spPr/>
      <dgm:t>
        <a:bodyPr/>
        <a:lstStyle/>
        <a:p>
          <a:endParaRPr lang="en-US"/>
        </a:p>
      </dgm:t>
    </dgm:pt>
    <dgm:pt modelId="{0AB334EB-5CEB-4F65-AACE-3BC7A37E2BC4}">
      <dgm:prSet phldr="0"/>
      <dgm:spPr/>
      <dgm:t>
        <a:bodyPr/>
        <a:lstStyle/>
        <a:p>
          <a:pPr>
            <a:defRPr b="1"/>
          </a:pPr>
          <a:r>
            <a:rPr lang="en-US" b="1">
              <a:latin typeface="Aptos Display" panose="020F0302020204030204"/>
            </a:rPr>
            <a:t>Q3</a:t>
          </a:r>
        </a:p>
      </dgm:t>
    </dgm:pt>
    <dgm:pt modelId="{72C325EA-6207-485D-9C6D-26DD80C81967}" type="parTrans" cxnId="{FC46589B-DF1A-4D77-A52E-B662ADFC7CF4}">
      <dgm:prSet/>
      <dgm:spPr/>
      <dgm:t>
        <a:bodyPr/>
        <a:lstStyle/>
        <a:p>
          <a:endParaRPr lang="en-US"/>
        </a:p>
      </dgm:t>
    </dgm:pt>
    <dgm:pt modelId="{77744919-8B2D-4A38-B189-B2D1364A6F56}" type="sibTrans" cxnId="{FC46589B-DF1A-4D77-A52E-B662ADFC7CF4}">
      <dgm:prSet/>
      <dgm:spPr/>
      <dgm:t>
        <a:bodyPr/>
        <a:lstStyle/>
        <a:p>
          <a:endParaRPr lang="en-US"/>
        </a:p>
      </dgm:t>
    </dgm:pt>
    <dgm:pt modelId="{7F3D0FFB-2684-4224-9FCC-1F0586F49F58}">
      <dgm:prSet phldr="0"/>
      <dgm:spPr/>
      <dgm:t>
        <a:bodyPr/>
        <a:lstStyle/>
        <a:p>
          <a:r>
            <a:rPr lang="en-US" b="1">
              <a:latin typeface="Aptos Display" panose="020F0302020204030204"/>
            </a:rPr>
            <a:t>WFD supply &amp; demand studies completed</a:t>
          </a:r>
        </a:p>
      </dgm:t>
    </dgm:pt>
    <dgm:pt modelId="{F01E9D24-DDFC-4144-9F99-B607FC91EE6B}" type="parTrans" cxnId="{B011E9F3-8377-4F78-A393-E2D71693F26E}">
      <dgm:prSet/>
      <dgm:spPr/>
      <dgm:t>
        <a:bodyPr/>
        <a:lstStyle/>
        <a:p>
          <a:endParaRPr lang="en-US"/>
        </a:p>
      </dgm:t>
    </dgm:pt>
    <dgm:pt modelId="{387C2E86-5BDC-46ED-8FDA-A5149DD2974E}" type="sibTrans" cxnId="{B011E9F3-8377-4F78-A393-E2D71693F26E}">
      <dgm:prSet/>
      <dgm:spPr/>
      <dgm:t>
        <a:bodyPr/>
        <a:lstStyle/>
        <a:p>
          <a:endParaRPr lang="en-US"/>
        </a:p>
      </dgm:t>
    </dgm:pt>
    <dgm:pt modelId="{DB19ED30-9F6B-4D70-95A1-7FB076300D6E}">
      <dgm:prSet phldr="0"/>
      <dgm:spPr/>
      <dgm:t>
        <a:bodyPr/>
        <a:lstStyle/>
        <a:p>
          <a:pPr>
            <a:defRPr b="1"/>
          </a:pPr>
          <a:r>
            <a:rPr lang="en-US" b="1">
              <a:latin typeface="Aptos Display" panose="020F0302020204030204"/>
            </a:rPr>
            <a:t>Q4</a:t>
          </a:r>
        </a:p>
      </dgm:t>
    </dgm:pt>
    <dgm:pt modelId="{94B055B5-9AAF-4330-BED5-9518BF453CAF}" type="parTrans" cxnId="{CB966D16-1D18-4737-8E30-F9261A9F6C79}">
      <dgm:prSet/>
      <dgm:spPr/>
      <dgm:t>
        <a:bodyPr/>
        <a:lstStyle/>
        <a:p>
          <a:endParaRPr lang="en-US"/>
        </a:p>
      </dgm:t>
    </dgm:pt>
    <dgm:pt modelId="{077A1AEC-EE45-4463-B8BF-4E464B8F7071}" type="sibTrans" cxnId="{CB966D16-1D18-4737-8E30-F9261A9F6C79}">
      <dgm:prSet/>
      <dgm:spPr/>
      <dgm:t>
        <a:bodyPr/>
        <a:lstStyle/>
        <a:p>
          <a:endParaRPr lang="en-US"/>
        </a:p>
      </dgm:t>
    </dgm:pt>
    <dgm:pt modelId="{6836F9F1-E68A-43C3-8306-A496545D1C77}">
      <dgm:prSet phldr="0"/>
      <dgm:spPr/>
      <dgm:t>
        <a:bodyPr/>
        <a:lstStyle/>
        <a:p>
          <a:r>
            <a:rPr lang="en-US" b="1">
              <a:latin typeface="Aptos Display" panose="020F0302020204030204"/>
            </a:rPr>
            <a:t>Online Job Tool launched</a:t>
          </a:r>
        </a:p>
      </dgm:t>
    </dgm:pt>
    <dgm:pt modelId="{B65750BD-1B67-4A86-9B9B-01BDBC05A4B0}" type="parTrans" cxnId="{20314BC7-0520-41F0-B32B-E0DB00AC13A2}">
      <dgm:prSet/>
      <dgm:spPr/>
      <dgm:t>
        <a:bodyPr/>
        <a:lstStyle/>
        <a:p>
          <a:endParaRPr lang="en-US"/>
        </a:p>
      </dgm:t>
    </dgm:pt>
    <dgm:pt modelId="{A87DF6E6-0482-4957-ABF7-554ABB9B237A}" type="sibTrans" cxnId="{20314BC7-0520-41F0-B32B-E0DB00AC13A2}">
      <dgm:prSet/>
      <dgm:spPr/>
      <dgm:t>
        <a:bodyPr/>
        <a:lstStyle/>
        <a:p>
          <a:endParaRPr lang="en-US"/>
        </a:p>
      </dgm:t>
    </dgm:pt>
    <dgm:pt modelId="{5C0CD464-DB8D-4BC7-9950-28145E515E41}">
      <dgm:prSet phldr="0"/>
      <dgm:spPr/>
      <dgm:t>
        <a:bodyPr/>
        <a:lstStyle/>
        <a:p>
          <a:pPr>
            <a:defRPr b="1"/>
          </a:pPr>
          <a:r>
            <a:rPr lang="en-US" b="1">
              <a:latin typeface="Aptos Display" panose="020F0302020204030204"/>
            </a:rPr>
            <a:t>Q4 </a:t>
          </a:r>
        </a:p>
      </dgm:t>
    </dgm:pt>
    <dgm:pt modelId="{0EBB3D6F-E66D-4A08-99F0-89B57A35B732}" type="parTrans" cxnId="{A44436B3-90B0-4EA9-8AF9-B48DF8E84987}">
      <dgm:prSet/>
      <dgm:spPr/>
      <dgm:t>
        <a:bodyPr/>
        <a:lstStyle/>
        <a:p>
          <a:endParaRPr lang="en-US"/>
        </a:p>
      </dgm:t>
    </dgm:pt>
    <dgm:pt modelId="{BAD297CF-62C1-4EB6-B05D-336EDBB1CCEF}" type="sibTrans" cxnId="{A44436B3-90B0-4EA9-8AF9-B48DF8E84987}">
      <dgm:prSet/>
      <dgm:spPr/>
      <dgm:t>
        <a:bodyPr/>
        <a:lstStyle/>
        <a:p>
          <a:endParaRPr lang="en-US"/>
        </a:p>
      </dgm:t>
    </dgm:pt>
    <dgm:pt modelId="{1025AEAF-0A84-4FDE-B75C-2256E4CB4946}">
      <dgm:prSet phldr="0"/>
      <dgm:spPr/>
      <dgm:t>
        <a:bodyPr/>
        <a:lstStyle/>
        <a:p>
          <a:r>
            <a:rPr lang="en-US" b="1">
              <a:latin typeface="Aptos Display" panose="020F0302020204030204"/>
            </a:rPr>
            <a:t>Initial assessments underway</a:t>
          </a:r>
        </a:p>
      </dgm:t>
    </dgm:pt>
    <dgm:pt modelId="{F84D4D97-F0F8-4E87-8474-ABFB487509C8}" type="parTrans" cxnId="{209F29AA-A74C-48FF-9C37-CEDEC20C9BDE}">
      <dgm:prSet/>
      <dgm:spPr/>
      <dgm:t>
        <a:bodyPr/>
        <a:lstStyle/>
        <a:p>
          <a:endParaRPr lang="en-US"/>
        </a:p>
      </dgm:t>
    </dgm:pt>
    <dgm:pt modelId="{D5C148C3-EDC9-4F1E-B4CB-D9EAD77B1B2B}" type="sibTrans" cxnId="{209F29AA-A74C-48FF-9C37-CEDEC20C9BDE}">
      <dgm:prSet/>
      <dgm:spPr/>
      <dgm:t>
        <a:bodyPr/>
        <a:lstStyle/>
        <a:p>
          <a:endParaRPr lang="en-US"/>
        </a:p>
      </dgm:t>
    </dgm:pt>
    <dgm:pt modelId="{53F7C91C-13C5-4363-B2C0-9666BF107CAC}">
      <dgm:prSet phldr="0"/>
      <dgm:spPr/>
      <dgm:t>
        <a:bodyPr/>
        <a:lstStyle/>
        <a:p>
          <a:pPr>
            <a:defRPr b="1"/>
          </a:pPr>
          <a:r>
            <a:rPr lang="en-US" b="1">
              <a:latin typeface="Aptos Display" panose="020F0302020204030204"/>
            </a:rPr>
            <a:t>Q4</a:t>
          </a:r>
        </a:p>
      </dgm:t>
    </dgm:pt>
    <dgm:pt modelId="{9C3888C7-13F0-45C0-96F3-AC44F2534B86}" type="parTrans" cxnId="{4CA11BBA-1A90-4A70-81F9-F227BD7BE008}">
      <dgm:prSet/>
      <dgm:spPr/>
      <dgm:t>
        <a:bodyPr/>
        <a:lstStyle/>
        <a:p>
          <a:endParaRPr lang="en-US"/>
        </a:p>
      </dgm:t>
    </dgm:pt>
    <dgm:pt modelId="{4479FB35-B76E-4018-BDE5-C7CF7882BF8A}" type="sibTrans" cxnId="{4CA11BBA-1A90-4A70-81F9-F227BD7BE008}">
      <dgm:prSet/>
      <dgm:spPr/>
      <dgm:t>
        <a:bodyPr/>
        <a:lstStyle/>
        <a:p>
          <a:endParaRPr lang="en-US"/>
        </a:p>
      </dgm:t>
    </dgm:pt>
    <dgm:pt modelId="{6469A0C0-2B0B-4DFB-8EBF-4456C110AACB}">
      <dgm:prSet phldr="0"/>
      <dgm:spPr/>
      <dgm:t>
        <a:bodyPr/>
        <a:lstStyle/>
        <a:p>
          <a:pPr rtl="0">
            <a:defRPr b="1"/>
          </a:pPr>
          <a:r>
            <a:rPr lang="en-US" b="1">
              <a:latin typeface="Aptos Display" panose="020F0302020204030204"/>
            </a:rPr>
            <a:t>First nodes operational</a:t>
          </a:r>
        </a:p>
      </dgm:t>
    </dgm:pt>
    <dgm:pt modelId="{639EA5CD-D5E1-43E3-977B-AAF83569D9FF}" type="parTrans" cxnId="{A6CB42AF-822E-4194-B336-8A1DF8AF5C5A}">
      <dgm:prSet/>
      <dgm:spPr/>
      <dgm:t>
        <a:bodyPr/>
        <a:lstStyle/>
        <a:p>
          <a:endParaRPr lang="en-US"/>
        </a:p>
      </dgm:t>
    </dgm:pt>
    <dgm:pt modelId="{A038A1C3-D326-40D5-AB0C-D1DBA638C4E8}" type="sibTrans" cxnId="{A6CB42AF-822E-4194-B336-8A1DF8AF5C5A}">
      <dgm:prSet/>
      <dgm:spPr/>
      <dgm:t>
        <a:bodyPr/>
        <a:lstStyle/>
        <a:p>
          <a:endParaRPr lang="en-US"/>
        </a:p>
      </dgm:t>
    </dgm:pt>
    <dgm:pt modelId="{D2532DFE-72C0-47F5-90B8-A2C742D46AAF}" type="pres">
      <dgm:prSet presAssocID="{3A88956C-C0E0-4E54-B71E-B8A41F3EEDF7}" presName="root" presStyleCnt="0">
        <dgm:presLayoutVars>
          <dgm:chMax/>
          <dgm:chPref/>
          <dgm:animLvl val="lvl"/>
        </dgm:presLayoutVars>
      </dgm:prSet>
      <dgm:spPr/>
    </dgm:pt>
    <dgm:pt modelId="{512A3DF5-0003-4DBA-BF3F-32C24C9A7484}" type="pres">
      <dgm:prSet presAssocID="{3A88956C-C0E0-4E54-B71E-B8A41F3EEDF7}" presName="divider" presStyleLbl="fgAccFollowNode1" presStyleIdx="0" presStyleCnt="1"/>
      <dgm:spPr>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tailEnd type="triangle" w="lg" len="lg"/>
        </a:ln>
        <a:effectLst/>
      </dgm:spPr>
    </dgm:pt>
    <dgm:pt modelId="{9294E967-7BCB-4F4F-973C-94D01A195E96}" type="pres">
      <dgm:prSet presAssocID="{3A88956C-C0E0-4E54-B71E-B8A41F3EEDF7}" presName="nodes" presStyleCnt="0">
        <dgm:presLayoutVars>
          <dgm:chMax/>
          <dgm:chPref/>
          <dgm:animLvl val="lvl"/>
        </dgm:presLayoutVars>
      </dgm:prSet>
      <dgm:spPr/>
    </dgm:pt>
    <dgm:pt modelId="{D01FCFC1-6624-4AF4-8851-FE376C7607B1}" type="pres">
      <dgm:prSet presAssocID="{410EED11-6D2F-48CE-8F50-B4A88EC3824D}" presName="composite" presStyleCnt="0"/>
      <dgm:spPr/>
    </dgm:pt>
    <dgm:pt modelId="{02117495-2C03-45EB-9D38-3F8C737D0B9D}" type="pres">
      <dgm:prSet presAssocID="{410EED11-6D2F-48CE-8F50-B4A88EC3824D}" presName="L1TextContainer" presStyleLbl="revTx" presStyleIdx="0" presStyleCnt="12">
        <dgm:presLayoutVars>
          <dgm:chMax val="1"/>
          <dgm:chPref val="1"/>
          <dgm:bulletEnabled val="1"/>
        </dgm:presLayoutVars>
      </dgm:prSet>
      <dgm:spPr/>
    </dgm:pt>
    <dgm:pt modelId="{4D09AACC-3182-446B-AC52-284112373015}" type="pres">
      <dgm:prSet presAssocID="{410EED11-6D2F-48CE-8F50-B4A88EC3824D}" presName="L2TextContainerWrapper" presStyleCnt="0">
        <dgm:presLayoutVars>
          <dgm:chMax val="0"/>
          <dgm:chPref val="0"/>
          <dgm:bulletEnabled val="1"/>
        </dgm:presLayoutVars>
      </dgm:prSet>
      <dgm:spPr/>
    </dgm:pt>
    <dgm:pt modelId="{851592A8-800B-4949-8033-0F177B21FCA2}" type="pres">
      <dgm:prSet presAssocID="{410EED11-6D2F-48CE-8F50-B4A88EC3824D}" presName="L2TextContainer" presStyleLbl="bgAcc1" presStyleIdx="0" presStyleCnt="12"/>
      <dgm:spPr/>
    </dgm:pt>
    <dgm:pt modelId="{B0E65E2E-1458-47DD-861C-F140B1788EFB}" type="pres">
      <dgm:prSet presAssocID="{410EED11-6D2F-48CE-8F50-B4A88EC3824D}" presName="FlexibleEmptyPlaceHolder" presStyleCnt="0"/>
      <dgm:spPr/>
    </dgm:pt>
    <dgm:pt modelId="{93B7B749-7B63-40FF-A248-356BFDFFDCA3}" type="pres">
      <dgm:prSet presAssocID="{410EED11-6D2F-48CE-8F50-B4A88EC3824D}" presName="ConnectLine" presStyleLbl="sibTrans1D1" presStyleIdx="0" presStyleCnt="12"/>
      <dgm:spPr>
        <a:noFill/>
        <a:ln w="12700" cap="flat" cmpd="sng" algn="ctr">
          <a:solidFill>
            <a:schemeClr val="accent1">
              <a:hueOff val="0"/>
              <a:satOff val="0"/>
              <a:lumOff val="0"/>
              <a:alphaOff val="0"/>
            </a:schemeClr>
          </a:solidFill>
          <a:prstDash val="dash"/>
          <a:miter lim="800000"/>
        </a:ln>
        <a:effectLst/>
      </dgm:spPr>
    </dgm:pt>
    <dgm:pt modelId="{491C9692-CE1D-40A0-9FB6-9D8A67F31240}" type="pres">
      <dgm:prSet presAssocID="{410EED11-6D2F-48CE-8F50-B4A88EC3824D}" presName="ConnectorPoint" presStyleLbl="alignNode1" presStyleIdx="0" presStyleCnt="12"/>
      <dgm:spPr/>
    </dgm:pt>
    <dgm:pt modelId="{1D908DA1-C96C-4ABD-B7CE-9AD1E260A606}" type="pres">
      <dgm:prSet presAssocID="{410EED11-6D2F-48CE-8F50-B4A88EC3824D}" presName="EmptyPlaceHolder" presStyleCnt="0"/>
      <dgm:spPr/>
    </dgm:pt>
    <dgm:pt modelId="{DCF6E3A1-4D44-460C-A2DB-A9E6B5BA2015}" type="pres">
      <dgm:prSet presAssocID="{9625D120-AB90-4969-97A7-8A1FDB40FC5F}" presName="spaceBetweenRectangles" presStyleCnt="0"/>
      <dgm:spPr/>
    </dgm:pt>
    <dgm:pt modelId="{5782E884-51E8-46CF-A1D4-C786F8F55048}" type="pres">
      <dgm:prSet presAssocID="{3CFC03F5-BF14-43B5-9BB9-C7AF31E52005}" presName="composite" presStyleCnt="0"/>
      <dgm:spPr/>
    </dgm:pt>
    <dgm:pt modelId="{402B45B8-DDF6-46BF-8649-85E6319DB434}" type="pres">
      <dgm:prSet presAssocID="{3CFC03F5-BF14-43B5-9BB9-C7AF31E52005}" presName="L1TextContainer" presStyleLbl="revTx" presStyleIdx="1" presStyleCnt="12">
        <dgm:presLayoutVars>
          <dgm:chMax val="1"/>
          <dgm:chPref val="1"/>
          <dgm:bulletEnabled val="1"/>
        </dgm:presLayoutVars>
      </dgm:prSet>
      <dgm:spPr/>
    </dgm:pt>
    <dgm:pt modelId="{04686C1A-A53B-48DC-BBBE-ECD48687668C}" type="pres">
      <dgm:prSet presAssocID="{3CFC03F5-BF14-43B5-9BB9-C7AF31E52005}" presName="L2TextContainerWrapper" presStyleCnt="0">
        <dgm:presLayoutVars>
          <dgm:chMax val="0"/>
          <dgm:chPref val="0"/>
          <dgm:bulletEnabled val="1"/>
        </dgm:presLayoutVars>
      </dgm:prSet>
      <dgm:spPr/>
    </dgm:pt>
    <dgm:pt modelId="{75D04FFC-FEEB-47C4-9877-6E99BA0852F2}" type="pres">
      <dgm:prSet presAssocID="{3CFC03F5-BF14-43B5-9BB9-C7AF31E52005}" presName="L2TextContainer" presStyleLbl="bgAcc1" presStyleIdx="1" presStyleCnt="12"/>
      <dgm:spPr/>
    </dgm:pt>
    <dgm:pt modelId="{746E2AB9-2772-4E2D-A292-4C09D09B4902}" type="pres">
      <dgm:prSet presAssocID="{3CFC03F5-BF14-43B5-9BB9-C7AF31E52005}" presName="FlexibleEmptyPlaceHolder" presStyleCnt="0"/>
      <dgm:spPr/>
    </dgm:pt>
    <dgm:pt modelId="{B5491679-479B-4918-B26B-91E4BAACBCA2}" type="pres">
      <dgm:prSet presAssocID="{3CFC03F5-BF14-43B5-9BB9-C7AF31E52005}" presName="ConnectLine" presStyleLbl="sibTrans1D1" presStyleIdx="1" presStyleCnt="12"/>
      <dgm:spPr>
        <a:noFill/>
        <a:ln w="12700" cap="flat" cmpd="sng" algn="ctr">
          <a:solidFill>
            <a:schemeClr val="accent1">
              <a:hueOff val="0"/>
              <a:satOff val="0"/>
              <a:lumOff val="0"/>
              <a:alphaOff val="0"/>
            </a:schemeClr>
          </a:solidFill>
          <a:prstDash val="dash"/>
          <a:miter lim="800000"/>
        </a:ln>
        <a:effectLst/>
      </dgm:spPr>
    </dgm:pt>
    <dgm:pt modelId="{2028862D-B925-4921-8992-4EBF035DE8C9}" type="pres">
      <dgm:prSet presAssocID="{3CFC03F5-BF14-43B5-9BB9-C7AF31E52005}" presName="ConnectorPoint" presStyleLbl="alignNode1" presStyleIdx="1" presStyleCnt="12"/>
      <dgm:spPr/>
    </dgm:pt>
    <dgm:pt modelId="{D20F00E0-2192-4078-8EDE-2183DB1C3CD3}" type="pres">
      <dgm:prSet presAssocID="{3CFC03F5-BF14-43B5-9BB9-C7AF31E52005}" presName="EmptyPlaceHolder" presStyleCnt="0"/>
      <dgm:spPr/>
    </dgm:pt>
    <dgm:pt modelId="{3CA530C0-E327-4A50-81C0-3E4622E4A7C0}" type="pres">
      <dgm:prSet presAssocID="{1821C12C-2BF3-40F2-84F0-A07F6AF863EB}" presName="spaceBetweenRectangles" presStyleCnt="0"/>
      <dgm:spPr/>
    </dgm:pt>
    <dgm:pt modelId="{B6E17AFA-644A-4138-B560-2BCFCD0F5E43}" type="pres">
      <dgm:prSet presAssocID="{71A217F8-F2EE-4AEE-A524-C607F2BBE755}" presName="composite" presStyleCnt="0"/>
      <dgm:spPr/>
    </dgm:pt>
    <dgm:pt modelId="{BDFD85EC-013F-4995-AE86-0F65C1B7A7F7}" type="pres">
      <dgm:prSet presAssocID="{71A217F8-F2EE-4AEE-A524-C607F2BBE755}" presName="L1TextContainer" presStyleLbl="revTx" presStyleIdx="2" presStyleCnt="12">
        <dgm:presLayoutVars>
          <dgm:chMax val="1"/>
          <dgm:chPref val="1"/>
          <dgm:bulletEnabled val="1"/>
        </dgm:presLayoutVars>
      </dgm:prSet>
      <dgm:spPr/>
    </dgm:pt>
    <dgm:pt modelId="{BF973B47-7E29-442E-BB92-B2DC726BFA89}" type="pres">
      <dgm:prSet presAssocID="{71A217F8-F2EE-4AEE-A524-C607F2BBE755}" presName="L2TextContainerWrapper" presStyleCnt="0">
        <dgm:presLayoutVars>
          <dgm:chMax val="0"/>
          <dgm:chPref val="0"/>
          <dgm:bulletEnabled val="1"/>
        </dgm:presLayoutVars>
      </dgm:prSet>
      <dgm:spPr/>
    </dgm:pt>
    <dgm:pt modelId="{8EAA996E-5944-448E-94B4-30623914FCD7}" type="pres">
      <dgm:prSet presAssocID="{71A217F8-F2EE-4AEE-A524-C607F2BBE755}" presName="L2TextContainer" presStyleLbl="bgAcc1" presStyleIdx="2" presStyleCnt="12"/>
      <dgm:spPr/>
    </dgm:pt>
    <dgm:pt modelId="{CE1B6072-3CF6-425F-942C-49A03E8D92CC}" type="pres">
      <dgm:prSet presAssocID="{71A217F8-F2EE-4AEE-A524-C607F2BBE755}" presName="FlexibleEmptyPlaceHolder" presStyleCnt="0"/>
      <dgm:spPr/>
    </dgm:pt>
    <dgm:pt modelId="{6742855A-45E4-42A9-91EF-A9F27B9AA705}" type="pres">
      <dgm:prSet presAssocID="{71A217F8-F2EE-4AEE-A524-C607F2BBE755}" presName="ConnectLine" presStyleLbl="sibTrans1D1" presStyleIdx="2" presStyleCnt="12"/>
      <dgm:spPr>
        <a:noFill/>
        <a:ln w="12700" cap="flat" cmpd="sng" algn="ctr">
          <a:solidFill>
            <a:schemeClr val="accent1">
              <a:hueOff val="0"/>
              <a:satOff val="0"/>
              <a:lumOff val="0"/>
              <a:alphaOff val="0"/>
            </a:schemeClr>
          </a:solidFill>
          <a:prstDash val="dash"/>
          <a:miter lim="800000"/>
        </a:ln>
        <a:effectLst/>
      </dgm:spPr>
    </dgm:pt>
    <dgm:pt modelId="{66066EC4-7581-4064-A630-9CBD32EF3F39}" type="pres">
      <dgm:prSet presAssocID="{71A217F8-F2EE-4AEE-A524-C607F2BBE755}" presName="ConnectorPoint" presStyleLbl="alignNode1" presStyleIdx="2" presStyleCnt="12"/>
      <dgm:spPr/>
    </dgm:pt>
    <dgm:pt modelId="{F7B9AD3E-1A40-4300-AAA7-F18FDF6C2FD1}" type="pres">
      <dgm:prSet presAssocID="{71A217F8-F2EE-4AEE-A524-C607F2BBE755}" presName="EmptyPlaceHolder" presStyleCnt="0"/>
      <dgm:spPr/>
    </dgm:pt>
    <dgm:pt modelId="{0F28A394-B772-495E-B977-1986EC64F63B}" type="pres">
      <dgm:prSet presAssocID="{E460CAB9-8591-40CC-85E9-FA13A9EFA501}" presName="spaceBetweenRectangles" presStyleCnt="0"/>
      <dgm:spPr/>
    </dgm:pt>
    <dgm:pt modelId="{0414502E-9929-4FF3-AFB5-11CD247BC758}" type="pres">
      <dgm:prSet presAssocID="{FE44639F-E4FE-4044-94F4-F8995BF325FE}" presName="composite" presStyleCnt="0"/>
      <dgm:spPr/>
    </dgm:pt>
    <dgm:pt modelId="{6F5250A7-5B2E-401F-A5C5-D29AD5CBAF71}" type="pres">
      <dgm:prSet presAssocID="{FE44639F-E4FE-4044-94F4-F8995BF325FE}" presName="L1TextContainer" presStyleLbl="revTx" presStyleIdx="3" presStyleCnt="12">
        <dgm:presLayoutVars>
          <dgm:chMax val="1"/>
          <dgm:chPref val="1"/>
          <dgm:bulletEnabled val="1"/>
        </dgm:presLayoutVars>
      </dgm:prSet>
      <dgm:spPr/>
    </dgm:pt>
    <dgm:pt modelId="{C5F1EA89-41C7-48C6-A7FC-9F7613A7DA22}" type="pres">
      <dgm:prSet presAssocID="{FE44639F-E4FE-4044-94F4-F8995BF325FE}" presName="L2TextContainerWrapper" presStyleCnt="0">
        <dgm:presLayoutVars>
          <dgm:chMax val="0"/>
          <dgm:chPref val="0"/>
          <dgm:bulletEnabled val="1"/>
        </dgm:presLayoutVars>
      </dgm:prSet>
      <dgm:spPr/>
    </dgm:pt>
    <dgm:pt modelId="{4F99AAA0-789C-4F0A-8031-BA508144999C}" type="pres">
      <dgm:prSet presAssocID="{FE44639F-E4FE-4044-94F4-F8995BF325FE}" presName="L2TextContainer" presStyleLbl="bgAcc1" presStyleIdx="3" presStyleCnt="12"/>
      <dgm:spPr/>
    </dgm:pt>
    <dgm:pt modelId="{40CA5368-E18C-4D5C-A838-5B0BC8115D53}" type="pres">
      <dgm:prSet presAssocID="{FE44639F-E4FE-4044-94F4-F8995BF325FE}" presName="FlexibleEmptyPlaceHolder" presStyleCnt="0"/>
      <dgm:spPr/>
    </dgm:pt>
    <dgm:pt modelId="{EF0D61A1-6307-44A1-A4CC-EB8BE480E3DA}" type="pres">
      <dgm:prSet presAssocID="{FE44639F-E4FE-4044-94F4-F8995BF325FE}" presName="ConnectLine" presStyleLbl="sibTrans1D1" presStyleIdx="3" presStyleCnt="12"/>
      <dgm:spPr>
        <a:noFill/>
        <a:ln w="12700" cap="flat" cmpd="sng" algn="ctr">
          <a:solidFill>
            <a:schemeClr val="accent1">
              <a:hueOff val="0"/>
              <a:satOff val="0"/>
              <a:lumOff val="0"/>
              <a:alphaOff val="0"/>
            </a:schemeClr>
          </a:solidFill>
          <a:prstDash val="dash"/>
          <a:miter lim="800000"/>
        </a:ln>
        <a:effectLst/>
      </dgm:spPr>
    </dgm:pt>
    <dgm:pt modelId="{1092DDF7-D56C-4C05-A9CA-1F41629D5963}" type="pres">
      <dgm:prSet presAssocID="{FE44639F-E4FE-4044-94F4-F8995BF325FE}" presName="ConnectorPoint" presStyleLbl="alignNode1" presStyleIdx="3" presStyleCnt="12"/>
      <dgm:spPr/>
    </dgm:pt>
    <dgm:pt modelId="{8F4BB660-3CD4-4942-A522-F630D84BAE2F}" type="pres">
      <dgm:prSet presAssocID="{FE44639F-E4FE-4044-94F4-F8995BF325FE}" presName="EmptyPlaceHolder" presStyleCnt="0"/>
      <dgm:spPr/>
    </dgm:pt>
    <dgm:pt modelId="{8C53D511-EEF9-4A6D-A449-5AA258BE2A47}" type="pres">
      <dgm:prSet presAssocID="{CCF513BC-DF64-4FD4-9739-E46F7F654815}" presName="spaceBetweenRectangles" presStyleCnt="0"/>
      <dgm:spPr/>
    </dgm:pt>
    <dgm:pt modelId="{081C5B8D-419E-46D5-9545-869822BF0B65}" type="pres">
      <dgm:prSet presAssocID="{20925219-0D0E-4FA1-81C7-0112E5D47137}" presName="composite" presStyleCnt="0"/>
      <dgm:spPr/>
    </dgm:pt>
    <dgm:pt modelId="{47699920-02E4-4B73-B16B-D018CDA56710}" type="pres">
      <dgm:prSet presAssocID="{20925219-0D0E-4FA1-81C7-0112E5D47137}" presName="L1TextContainer" presStyleLbl="revTx" presStyleIdx="4" presStyleCnt="12">
        <dgm:presLayoutVars>
          <dgm:chMax val="1"/>
          <dgm:chPref val="1"/>
          <dgm:bulletEnabled val="1"/>
        </dgm:presLayoutVars>
      </dgm:prSet>
      <dgm:spPr/>
    </dgm:pt>
    <dgm:pt modelId="{80A1036D-91C1-4F10-A6E1-9FC59E9B1728}" type="pres">
      <dgm:prSet presAssocID="{20925219-0D0E-4FA1-81C7-0112E5D47137}" presName="L2TextContainerWrapper" presStyleCnt="0">
        <dgm:presLayoutVars>
          <dgm:chMax val="0"/>
          <dgm:chPref val="0"/>
          <dgm:bulletEnabled val="1"/>
        </dgm:presLayoutVars>
      </dgm:prSet>
      <dgm:spPr/>
    </dgm:pt>
    <dgm:pt modelId="{8A968E83-85CC-4BB1-B13F-1CC8C94A33E0}" type="pres">
      <dgm:prSet presAssocID="{20925219-0D0E-4FA1-81C7-0112E5D47137}" presName="L2TextContainer" presStyleLbl="bgAcc1" presStyleIdx="4" presStyleCnt="12"/>
      <dgm:spPr/>
    </dgm:pt>
    <dgm:pt modelId="{CAD7BC14-B06C-471D-95B6-CFF56C8644FD}" type="pres">
      <dgm:prSet presAssocID="{20925219-0D0E-4FA1-81C7-0112E5D47137}" presName="FlexibleEmptyPlaceHolder" presStyleCnt="0"/>
      <dgm:spPr/>
    </dgm:pt>
    <dgm:pt modelId="{3F90257F-0C4B-4945-8BEB-E42CA69ADE4B}" type="pres">
      <dgm:prSet presAssocID="{20925219-0D0E-4FA1-81C7-0112E5D47137}" presName="ConnectLine" presStyleLbl="sibTrans1D1" presStyleIdx="4" presStyleCnt="12"/>
      <dgm:spPr>
        <a:noFill/>
        <a:ln w="12700" cap="flat" cmpd="sng" algn="ctr">
          <a:solidFill>
            <a:schemeClr val="accent1">
              <a:hueOff val="0"/>
              <a:satOff val="0"/>
              <a:lumOff val="0"/>
              <a:alphaOff val="0"/>
            </a:schemeClr>
          </a:solidFill>
          <a:prstDash val="dash"/>
          <a:miter lim="800000"/>
        </a:ln>
        <a:effectLst/>
      </dgm:spPr>
    </dgm:pt>
    <dgm:pt modelId="{C62D84A2-5977-402E-9800-FDEA0B1A6ED8}" type="pres">
      <dgm:prSet presAssocID="{20925219-0D0E-4FA1-81C7-0112E5D47137}" presName="ConnectorPoint" presStyleLbl="alignNode1" presStyleIdx="4" presStyleCnt="12"/>
      <dgm:spPr/>
    </dgm:pt>
    <dgm:pt modelId="{2A50A1EA-59D8-4333-961B-80247A5D9D98}" type="pres">
      <dgm:prSet presAssocID="{20925219-0D0E-4FA1-81C7-0112E5D47137}" presName="EmptyPlaceHolder" presStyleCnt="0"/>
      <dgm:spPr/>
    </dgm:pt>
    <dgm:pt modelId="{C4D829D6-7DE8-4A1A-937E-96DCFDE2FABA}" type="pres">
      <dgm:prSet presAssocID="{75095F22-7782-40C1-9BB0-3BA18ACD76D8}" presName="spaceBetweenRectangles" presStyleCnt="0"/>
      <dgm:spPr/>
    </dgm:pt>
    <dgm:pt modelId="{4CA1F26D-3905-4645-8369-E7F89828E6A7}" type="pres">
      <dgm:prSet presAssocID="{C6EF032F-9292-42CE-A9BD-D9405FA22CAD}" presName="composite" presStyleCnt="0"/>
      <dgm:spPr/>
    </dgm:pt>
    <dgm:pt modelId="{93E5B0CA-065B-4608-B089-3E9BEC562690}" type="pres">
      <dgm:prSet presAssocID="{C6EF032F-9292-42CE-A9BD-D9405FA22CAD}" presName="L1TextContainer" presStyleLbl="revTx" presStyleIdx="5" presStyleCnt="12">
        <dgm:presLayoutVars>
          <dgm:chMax val="1"/>
          <dgm:chPref val="1"/>
          <dgm:bulletEnabled val="1"/>
        </dgm:presLayoutVars>
      </dgm:prSet>
      <dgm:spPr/>
    </dgm:pt>
    <dgm:pt modelId="{CF32B9EE-FF7D-4B26-B7FD-91A8768D95F1}" type="pres">
      <dgm:prSet presAssocID="{C6EF032F-9292-42CE-A9BD-D9405FA22CAD}" presName="L2TextContainerWrapper" presStyleCnt="0">
        <dgm:presLayoutVars>
          <dgm:chMax val="0"/>
          <dgm:chPref val="0"/>
          <dgm:bulletEnabled val="1"/>
        </dgm:presLayoutVars>
      </dgm:prSet>
      <dgm:spPr/>
    </dgm:pt>
    <dgm:pt modelId="{549EDA36-AD69-41FD-A16A-D0E3037E2ACC}" type="pres">
      <dgm:prSet presAssocID="{C6EF032F-9292-42CE-A9BD-D9405FA22CAD}" presName="L2TextContainer" presStyleLbl="bgAcc1" presStyleIdx="5" presStyleCnt="12"/>
      <dgm:spPr/>
    </dgm:pt>
    <dgm:pt modelId="{31EB1D1D-0F7D-4DA1-A061-4D8C766FA5DE}" type="pres">
      <dgm:prSet presAssocID="{C6EF032F-9292-42CE-A9BD-D9405FA22CAD}" presName="FlexibleEmptyPlaceHolder" presStyleCnt="0"/>
      <dgm:spPr/>
    </dgm:pt>
    <dgm:pt modelId="{0568A5B0-F273-406D-AD0F-2B5A226A07B1}" type="pres">
      <dgm:prSet presAssocID="{C6EF032F-9292-42CE-A9BD-D9405FA22CAD}" presName="ConnectLine" presStyleLbl="sibTrans1D1" presStyleIdx="5" presStyleCnt="12"/>
      <dgm:spPr>
        <a:noFill/>
        <a:ln w="12700" cap="flat" cmpd="sng" algn="ctr">
          <a:solidFill>
            <a:schemeClr val="accent1">
              <a:hueOff val="0"/>
              <a:satOff val="0"/>
              <a:lumOff val="0"/>
              <a:alphaOff val="0"/>
            </a:schemeClr>
          </a:solidFill>
          <a:prstDash val="dash"/>
          <a:miter lim="800000"/>
        </a:ln>
        <a:effectLst/>
      </dgm:spPr>
    </dgm:pt>
    <dgm:pt modelId="{382EE250-A5F6-4FDD-B915-5B0AFE9E335A}" type="pres">
      <dgm:prSet presAssocID="{C6EF032F-9292-42CE-A9BD-D9405FA22CAD}" presName="ConnectorPoint" presStyleLbl="alignNode1" presStyleIdx="5" presStyleCnt="12"/>
      <dgm:spPr/>
    </dgm:pt>
    <dgm:pt modelId="{A1991ED1-120C-492A-B425-E493AFE4E952}" type="pres">
      <dgm:prSet presAssocID="{C6EF032F-9292-42CE-A9BD-D9405FA22CAD}" presName="EmptyPlaceHolder" presStyleCnt="0"/>
      <dgm:spPr/>
    </dgm:pt>
    <dgm:pt modelId="{5969DA81-96F0-4133-A4F6-A7CE33337ABC}" type="pres">
      <dgm:prSet presAssocID="{125A7819-363F-4555-8F96-20C79B33CCE8}" presName="spaceBetweenRectangles" presStyleCnt="0"/>
      <dgm:spPr/>
    </dgm:pt>
    <dgm:pt modelId="{41D3E42B-DCA4-4E62-8C14-51D86AC8E121}" type="pres">
      <dgm:prSet presAssocID="{ACEE0283-2499-4D69-B3C2-F2450F4B6894}" presName="composite" presStyleCnt="0"/>
      <dgm:spPr/>
    </dgm:pt>
    <dgm:pt modelId="{56E63CC0-092F-4C71-9364-34332E029340}" type="pres">
      <dgm:prSet presAssocID="{ACEE0283-2499-4D69-B3C2-F2450F4B6894}" presName="L1TextContainer" presStyleLbl="revTx" presStyleIdx="6" presStyleCnt="12">
        <dgm:presLayoutVars>
          <dgm:chMax val="1"/>
          <dgm:chPref val="1"/>
          <dgm:bulletEnabled val="1"/>
        </dgm:presLayoutVars>
      </dgm:prSet>
      <dgm:spPr/>
    </dgm:pt>
    <dgm:pt modelId="{A3D3A8D2-2C43-4F25-B0EB-786278CB785E}" type="pres">
      <dgm:prSet presAssocID="{ACEE0283-2499-4D69-B3C2-F2450F4B6894}" presName="L2TextContainerWrapper" presStyleCnt="0">
        <dgm:presLayoutVars>
          <dgm:chMax val="0"/>
          <dgm:chPref val="0"/>
          <dgm:bulletEnabled val="1"/>
        </dgm:presLayoutVars>
      </dgm:prSet>
      <dgm:spPr/>
    </dgm:pt>
    <dgm:pt modelId="{064CB2A6-4315-4227-9E7A-B1F26611D30F}" type="pres">
      <dgm:prSet presAssocID="{ACEE0283-2499-4D69-B3C2-F2450F4B6894}" presName="L2TextContainer" presStyleLbl="bgAcc1" presStyleIdx="6" presStyleCnt="12"/>
      <dgm:spPr/>
    </dgm:pt>
    <dgm:pt modelId="{7178C45C-9BD5-4C5E-A8D0-527284616988}" type="pres">
      <dgm:prSet presAssocID="{ACEE0283-2499-4D69-B3C2-F2450F4B6894}" presName="FlexibleEmptyPlaceHolder" presStyleCnt="0"/>
      <dgm:spPr/>
    </dgm:pt>
    <dgm:pt modelId="{32B95D75-C87A-47FE-AFAB-F5BC08131535}" type="pres">
      <dgm:prSet presAssocID="{ACEE0283-2499-4D69-B3C2-F2450F4B6894}" presName="ConnectLine" presStyleLbl="sibTrans1D1" presStyleIdx="6" presStyleCnt="12"/>
      <dgm:spPr>
        <a:noFill/>
        <a:ln w="12700" cap="flat" cmpd="sng" algn="ctr">
          <a:solidFill>
            <a:schemeClr val="accent1">
              <a:hueOff val="0"/>
              <a:satOff val="0"/>
              <a:lumOff val="0"/>
              <a:alphaOff val="0"/>
            </a:schemeClr>
          </a:solidFill>
          <a:prstDash val="dash"/>
          <a:miter lim="800000"/>
        </a:ln>
        <a:effectLst/>
      </dgm:spPr>
    </dgm:pt>
    <dgm:pt modelId="{A0D77DB6-7CA5-421A-BF15-1A416FAC291F}" type="pres">
      <dgm:prSet presAssocID="{ACEE0283-2499-4D69-B3C2-F2450F4B6894}" presName="ConnectorPoint" presStyleLbl="alignNode1" presStyleIdx="6" presStyleCnt="12"/>
      <dgm:spPr/>
    </dgm:pt>
    <dgm:pt modelId="{C6A83E9B-C89B-47A9-B1B7-AD165BA60528}" type="pres">
      <dgm:prSet presAssocID="{ACEE0283-2499-4D69-B3C2-F2450F4B6894}" presName="EmptyPlaceHolder" presStyleCnt="0"/>
      <dgm:spPr/>
    </dgm:pt>
    <dgm:pt modelId="{13B22664-EFD5-4709-A04C-0E2E9939F65A}" type="pres">
      <dgm:prSet presAssocID="{B2F78E3B-1DE9-414E-A2C3-C8A5896F2AC4}" presName="spaceBetweenRectangles" presStyleCnt="0"/>
      <dgm:spPr/>
    </dgm:pt>
    <dgm:pt modelId="{EB525461-A89B-4B5F-9C78-073B0BF099B9}" type="pres">
      <dgm:prSet presAssocID="{0AB334EB-5CEB-4F65-AACE-3BC7A37E2BC4}" presName="composite" presStyleCnt="0"/>
      <dgm:spPr/>
    </dgm:pt>
    <dgm:pt modelId="{21758050-3853-4B51-A8CC-AA46B6F191AF}" type="pres">
      <dgm:prSet presAssocID="{0AB334EB-5CEB-4F65-AACE-3BC7A37E2BC4}" presName="L1TextContainer" presStyleLbl="revTx" presStyleIdx="7" presStyleCnt="12">
        <dgm:presLayoutVars>
          <dgm:chMax val="1"/>
          <dgm:chPref val="1"/>
          <dgm:bulletEnabled val="1"/>
        </dgm:presLayoutVars>
      </dgm:prSet>
      <dgm:spPr/>
    </dgm:pt>
    <dgm:pt modelId="{7D71112D-09F8-4752-91CE-0BED1B173361}" type="pres">
      <dgm:prSet presAssocID="{0AB334EB-5CEB-4F65-AACE-3BC7A37E2BC4}" presName="L2TextContainerWrapper" presStyleCnt="0">
        <dgm:presLayoutVars>
          <dgm:chMax val="0"/>
          <dgm:chPref val="0"/>
          <dgm:bulletEnabled val="1"/>
        </dgm:presLayoutVars>
      </dgm:prSet>
      <dgm:spPr/>
    </dgm:pt>
    <dgm:pt modelId="{0EDA702C-9A43-4D92-BC99-160D8E2E05CA}" type="pres">
      <dgm:prSet presAssocID="{0AB334EB-5CEB-4F65-AACE-3BC7A37E2BC4}" presName="L2TextContainer" presStyleLbl="bgAcc1" presStyleIdx="7" presStyleCnt="12"/>
      <dgm:spPr/>
    </dgm:pt>
    <dgm:pt modelId="{6097AAE6-EADA-4FB6-9E14-846BFEE22533}" type="pres">
      <dgm:prSet presAssocID="{0AB334EB-5CEB-4F65-AACE-3BC7A37E2BC4}" presName="FlexibleEmptyPlaceHolder" presStyleCnt="0"/>
      <dgm:spPr/>
    </dgm:pt>
    <dgm:pt modelId="{3C09B5F8-EF97-41B8-AC43-C61C6FFF41F4}" type="pres">
      <dgm:prSet presAssocID="{0AB334EB-5CEB-4F65-AACE-3BC7A37E2BC4}" presName="ConnectLine" presStyleLbl="sibTrans1D1" presStyleIdx="7" presStyleCnt="12"/>
      <dgm:spPr>
        <a:noFill/>
        <a:ln w="12700" cap="flat" cmpd="sng" algn="ctr">
          <a:solidFill>
            <a:schemeClr val="accent1">
              <a:hueOff val="0"/>
              <a:satOff val="0"/>
              <a:lumOff val="0"/>
              <a:alphaOff val="0"/>
            </a:schemeClr>
          </a:solidFill>
          <a:prstDash val="dash"/>
          <a:miter lim="800000"/>
        </a:ln>
        <a:effectLst/>
      </dgm:spPr>
    </dgm:pt>
    <dgm:pt modelId="{E9C38DCD-C86D-4EB3-8D17-3156989E171E}" type="pres">
      <dgm:prSet presAssocID="{0AB334EB-5CEB-4F65-AACE-3BC7A37E2BC4}" presName="ConnectorPoint" presStyleLbl="alignNode1" presStyleIdx="7" presStyleCnt="12"/>
      <dgm:spPr/>
    </dgm:pt>
    <dgm:pt modelId="{C3F5EB52-5CA1-4AD9-8B7A-C5BD64FEDBA8}" type="pres">
      <dgm:prSet presAssocID="{0AB334EB-5CEB-4F65-AACE-3BC7A37E2BC4}" presName="EmptyPlaceHolder" presStyleCnt="0"/>
      <dgm:spPr/>
    </dgm:pt>
    <dgm:pt modelId="{670AC77E-A917-4157-B350-BF95F954A116}" type="pres">
      <dgm:prSet presAssocID="{77744919-8B2D-4A38-B189-B2D1364A6F56}" presName="spaceBetweenRectangles" presStyleCnt="0"/>
      <dgm:spPr/>
    </dgm:pt>
    <dgm:pt modelId="{C3B9FD6C-B1DA-4D14-8A68-CD2939CE5830}" type="pres">
      <dgm:prSet presAssocID="{DB19ED30-9F6B-4D70-95A1-7FB076300D6E}" presName="composite" presStyleCnt="0"/>
      <dgm:spPr/>
    </dgm:pt>
    <dgm:pt modelId="{63B8CC74-0B1E-49F4-9390-E1AE2D668100}" type="pres">
      <dgm:prSet presAssocID="{DB19ED30-9F6B-4D70-95A1-7FB076300D6E}" presName="L1TextContainer" presStyleLbl="revTx" presStyleIdx="8" presStyleCnt="12">
        <dgm:presLayoutVars>
          <dgm:chMax val="1"/>
          <dgm:chPref val="1"/>
          <dgm:bulletEnabled val="1"/>
        </dgm:presLayoutVars>
      </dgm:prSet>
      <dgm:spPr/>
    </dgm:pt>
    <dgm:pt modelId="{FD27E684-F6BF-4079-BE50-48E010463499}" type="pres">
      <dgm:prSet presAssocID="{DB19ED30-9F6B-4D70-95A1-7FB076300D6E}" presName="L2TextContainerWrapper" presStyleCnt="0">
        <dgm:presLayoutVars>
          <dgm:chMax val="0"/>
          <dgm:chPref val="0"/>
          <dgm:bulletEnabled val="1"/>
        </dgm:presLayoutVars>
      </dgm:prSet>
      <dgm:spPr/>
    </dgm:pt>
    <dgm:pt modelId="{1F3ABD65-4622-4E44-BD90-900EFFEEF88A}" type="pres">
      <dgm:prSet presAssocID="{DB19ED30-9F6B-4D70-95A1-7FB076300D6E}" presName="L2TextContainer" presStyleLbl="bgAcc1" presStyleIdx="8" presStyleCnt="12"/>
      <dgm:spPr/>
    </dgm:pt>
    <dgm:pt modelId="{13A3314F-376D-466F-99C1-789120EDBD99}" type="pres">
      <dgm:prSet presAssocID="{DB19ED30-9F6B-4D70-95A1-7FB076300D6E}" presName="FlexibleEmptyPlaceHolder" presStyleCnt="0"/>
      <dgm:spPr/>
    </dgm:pt>
    <dgm:pt modelId="{A7CD277F-6C66-441B-AA21-4F7D5356B8C9}" type="pres">
      <dgm:prSet presAssocID="{DB19ED30-9F6B-4D70-95A1-7FB076300D6E}" presName="ConnectLine" presStyleLbl="sibTrans1D1" presStyleIdx="8" presStyleCnt="12"/>
      <dgm:spPr>
        <a:noFill/>
        <a:ln w="12700" cap="flat" cmpd="sng" algn="ctr">
          <a:solidFill>
            <a:schemeClr val="accent1">
              <a:hueOff val="0"/>
              <a:satOff val="0"/>
              <a:lumOff val="0"/>
              <a:alphaOff val="0"/>
            </a:schemeClr>
          </a:solidFill>
          <a:prstDash val="dash"/>
          <a:miter lim="800000"/>
        </a:ln>
        <a:effectLst/>
      </dgm:spPr>
    </dgm:pt>
    <dgm:pt modelId="{A0EECB06-1F0D-4ADD-95AF-C809DF32BEC6}" type="pres">
      <dgm:prSet presAssocID="{DB19ED30-9F6B-4D70-95A1-7FB076300D6E}" presName="ConnectorPoint" presStyleLbl="alignNode1" presStyleIdx="8" presStyleCnt="12"/>
      <dgm:spPr/>
    </dgm:pt>
    <dgm:pt modelId="{E20E8862-827A-4D06-BB9F-C80398B353B6}" type="pres">
      <dgm:prSet presAssocID="{DB19ED30-9F6B-4D70-95A1-7FB076300D6E}" presName="EmptyPlaceHolder" presStyleCnt="0"/>
      <dgm:spPr/>
    </dgm:pt>
    <dgm:pt modelId="{005E1957-C03F-43A0-84A1-95C8F17B0053}" type="pres">
      <dgm:prSet presAssocID="{077A1AEC-EE45-4463-B8BF-4E464B8F7071}" presName="spaceBetweenRectangles" presStyleCnt="0"/>
      <dgm:spPr/>
    </dgm:pt>
    <dgm:pt modelId="{CC7CD36B-3C69-423E-9FC2-E1DD96A78D93}" type="pres">
      <dgm:prSet presAssocID="{53F7C91C-13C5-4363-B2C0-9666BF107CAC}" presName="composite" presStyleCnt="0"/>
      <dgm:spPr/>
    </dgm:pt>
    <dgm:pt modelId="{93353B55-EA56-415C-B1FD-3FDBDF9A1696}" type="pres">
      <dgm:prSet presAssocID="{53F7C91C-13C5-4363-B2C0-9666BF107CAC}" presName="L1TextContainer" presStyleLbl="revTx" presStyleIdx="9" presStyleCnt="12">
        <dgm:presLayoutVars>
          <dgm:chMax val="1"/>
          <dgm:chPref val="1"/>
          <dgm:bulletEnabled val="1"/>
        </dgm:presLayoutVars>
      </dgm:prSet>
      <dgm:spPr/>
    </dgm:pt>
    <dgm:pt modelId="{5CF7C451-EF26-42B8-A368-D9B584BF37FE}" type="pres">
      <dgm:prSet presAssocID="{53F7C91C-13C5-4363-B2C0-9666BF107CAC}" presName="L2TextContainerWrapper" presStyleCnt="0">
        <dgm:presLayoutVars>
          <dgm:chMax val="0"/>
          <dgm:chPref val="0"/>
          <dgm:bulletEnabled val="1"/>
        </dgm:presLayoutVars>
      </dgm:prSet>
      <dgm:spPr/>
    </dgm:pt>
    <dgm:pt modelId="{D28C15F4-103E-40ED-813F-B2745FEBA480}" type="pres">
      <dgm:prSet presAssocID="{53F7C91C-13C5-4363-B2C0-9666BF107CAC}" presName="L2TextContainer" presStyleLbl="bgAcc1" presStyleIdx="9" presStyleCnt="12"/>
      <dgm:spPr/>
    </dgm:pt>
    <dgm:pt modelId="{B932ED5C-A8B9-4E93-9A50-63C85F289A0D}" type="pres">
      <dgm:prSet presAssocID="{53F7C91C-13C5-4363-B2C0-9666BF107CAC}" presName="FlexibleEmptyPlaceHolder" presStyleCnt="0"/>
      <dgm:spPr/>
    </dgm:pt>
    <dgm:pt modelId="{0AE6A372-3F55-433C-868B-90D88B455615}" type="pres">
      <dgm:prSet presAssocID="{53F7C91C-13C5-4363-B2C0-9666BF107CAC}" presName="ConnectLine" presStyleLbl="sibTrans1D1" presStyleIdx="9" presStyleCnt="12"/>
      <dgm:spPr>
        <a:noFill/>
        <a:ln w="12700" cap="flat" cmpd="sng" algn="ctr">
          <a:solidFill>
            <a:schemeClr val="accent1">
              <a:hueOff val="0"/>
              <a:satOff val="0"/>
              <a:lumOff val="0"/>
              <a:alphaOff val="0"/>
            </a:schemeClr>
          </a:solidFill>
          <a:prstDash val="dash"/>
          <a:miter lim="800000"/>
        </a:ln>
        <a:effectLst/>
      </dgm:spPr>
    </dgm:pt>
    <dgm:pt modelId="{9A4342C5-0D05-431D-9622-972BDD41A2B7}" type="pres">
      <dgm:prSet presAssocID="{53F7C91C-13C5-4363-B2C0-9666BF107CAC}" presName="ConnectorPoint" presStyleLbl="alignNode1" presStyleIdx="9" presStyleCnt="12"/>
      <dgm:spPr/>
    </dgm:pt>
    <dgm:pt modelId="{C399EC80-335A-4AA5-A7AF-1F1B653D3A8E}" type="pres">
      <dgm:prSet presAssocID="{53F7C91C-13C5-4363-B2C0-9666BF107CAC}" presName="EmptyPlaceHolder" presStyleCnt="0"/>
      <dgm:spPr/>
    </dgm:pt>
    <dgm:pt modelId="{6E7BD4FF-A379-4492-B720-16302114C0C8}" type="pres">
      <dgm:prSet presAssocID="{4479FB35-B76E-4018-BDE5-C7CF7882BF8A}" presName="spaceBetweenRectangles" presStyleCnt="0"/>
      <dgm:spPr/>
    </dgm:pt>
    <dgm:pt modelId="{2ABD7046-07E0-47CC-92A8-E4505388C1BB}" type="pres">
      <dgm:prSet presAssocID="{DDAD741C-6C6D-49AB-A39B-7A0FF7FB6ED0}" presName="composite" presStyleCnt="0"/>
      <dgm:spPr/>
    </dgm:pt>
    <dgm:pt modelId="{1E0105D9-BFA2-4FBC-B676-3A5B532286CA}" type="pres">
      <dgm:prSet presAssocID="{DDAD741C-6C6D-49AB-A39B-7A0FF7FB6ED0}" presName="L1TextContainer" presStyleLbl="revTx" presStyleIdx="10" presStyleCnt="12">
        <dgm:presLayoutVars>
          <dgm:chMax val="1"/>
          <dgm:chPref val="1"/>
          <dgm:bulletEnabled val="1"/>
        </dgm:presLayoutVars>
      </dgm:prSet>
      <dgm:spPr/>
    </dgm:pt>
    <dgm:pt modelId="{E0F4BF8E-CFEA-48CD-B9DA-2E3BDEFF57D6}" type="pres">
      <dgm:prSet presAssocID="{DDAD741C-6C6D-49AB-A39B-7A0FF7FB6ED0}" presName="L2TextContainerWrapper" presStyleCnt="0">
        <dgm:presLayoutVars>
          <dgm:chMax val="0"/>
          <dgm:chPref val="0"/>
          <dgm:bulletEnabled val="1"/>
        </dgm:presLayoutVars>
      </dgm:prSet>
      <dgm:spPr/>
    </dgm:pt>
    <dgm:pt modelId="{5D63734E-B461-42CD-89EA-6193551377B9}" type="pres">
      <dgm:prSet presAssocID="{DDAD741C-6C6D-49AB-A39B-7A0FF7FB6ED0}" presName="L2TextContainer" presStyleLbl="bgAcc1" presStyleIdx="10" presStyleCnt="12"/>
      <dgm:spPr/>
    </dgm:pt>
    <dgm:pt modelId="{936BAB60-D060-49D1-91B2-3F65BC3C703C}" type="pres">
      <dgm:prSet presAssocID="{DDAD741C-6C6D-49AB-A39B-7A0FF7FB6ED0}" presName="FlexibleEmptyPlaceHolder" presStyleCnt="0"/>
      <dgm:spPr/>
    </dgm:pt>
    <dgm:pt modelId="{F2BA1CF7-01E0-4E18-89C6-9B0F449AC81E}" type="pres">
      <dgm:prSet presAssocID="{DDAD741C-6C6D-49AB-A39B-7A0FF7FB6ED0}" presName="ConnectLine" presStyleLbl="sibTrans1D1" presStyleIdx="10" presStyleCnt="12"/>
      <dgm:spPr>
        <a:noFill/>
        <a:ln w="12700" cap="flat" cmpd="sng" algn="ctr">
          <a:solidFill>
            <a:schemeClr val="accent1">
              <a:hueOff val="0"/>
              <a:satOff val="0"/>
              <a:lumOff val="0"/>
              <a:alphaOff val="0"/>
            </a:schemeClr>
          </a:solidFill>
          <a:prstDash val="dash"/>
          <a:miter lim="800000"/>
        </a:ln>
        <a:effectLst/>
      </dgm:spPr>
    </dgm:pt>
    <dgm:pt modelId="{99B99E64-2887-46D1-BD1C-3C2F3078BDB7}" type="pres">
      <dgm:prSet presAssocID="{DDAD741C-6C6D-49AB-A39B-7A0FF7FB6ED0}" presName="ConnectorPoint" presStyleLbl="alignNode1" presStyleIdx="10" presStyleCnt="12"/>
      <dgm:spPr/>
    </dgm:pt>
    <dgm:pt modelId="{814967E0-A12B-415E-A6F7-2B48F839E30E}" type="pres">
      <dgm:prSet presAssocID="{DDAD741C-6C6D-49AB-A39B-7A0FF7FB6ED0}" presName="EmptyPlaceHolder" presStyleCnt="0"/>
      <dgm:spPr/>
    </dgm:pt>
    <dgm:pt modelId="{59201410-404D-48C5-B3CA-9C79A63E81BB}" type="pres">
      <dgm:prSet presAssocID="{1D8F6FC3-6F80-4B52-B8F9-5A5EC5822A54}" presName="spaceBetweenRectangles" presStyleCnt="0"/>
      <dgm:spPr/>
    </dgm:pt>
    <dgm:pt modelId="{7121D018-BE8E-4CAA-832C-762E733C7ADC}" type="pres">
      <dgm:prSet presAssocID="{5C0CD464-DB8D-4BC7-9950-28145E515E41}" presName="composite" presStyleCnt="0"/>
      <dgm:spPr/>
    </dgm:pt>
    <dgm:pt modelId="{1C07980A-01AD-4375-B30D-3B9566D433DF}" type="pres">
      <dgm:prSet presAssocID="{5C0CD464-DB8D-4BC7-9950-28145E515E41}" presName="L1TextContainer" presStyleLbl="revTx" presStyleIdx="11" presStyleCnt="12">
        <dgm:presLayoutVars>
          <dgm:chMax val="1"/>
          <dgm:chPref val="1"/>
          <dgm:bulletEnabled val="1"/>
        </dgm:presLayoutVars>
      </dgm:prSet>
      <dgm:spPr/>
    </dgm:pt>
    <dgm:pt modelId="{CC4EF2E9-F397-4013-B2F6-2345269AC078}" type="pres">
      <dgm:prSet presAssocID="{5C0CD464-DB8D-4BC7-9950-28145E515E41}" presName="L2TextContainerWrapper" presStyleCnt="0">
        <dgm:presLayoutVars>
          <dgm:chMax val="0"/>
          <dgm:chPref val="0"/>
          <dgm:bulletEnabled val="1"/>
        </dgm:presLayoutVars>
      </dgm:prSet>
      <dgm:spPr/>
    </dgm:pt>
    <dgm:pt modelId="{86434443-72B6-4206-886D-95F8399164A7}" type="pres">
      <dgm:prSet presAssocID="{5C0CD464-DB8D-4BC7-9950-28145E515E41}" presName="L2TextContainer" presStyleLbl="bgAcc1" presStyleIdx="11" presStyleCnt="12"/>
      <dgm:spPr/>
    </dgm:pt>
    <dgm:pt modelId="{D5CD6FFA-F4BB-48CD-B569-31DEF5864C56}" type="pres">
      <dgm:prSet presAssocID="{5C0CD464-DB8D-4BC7-9950-28145E515E41}" presName="FlexibleEmptyPlaceHolder" presStyleCnt="0"/>
      <dgm:spPr/>
    </dgm:pt>
    <dgm:pt modelId="{74E4F1A9-3E3C-456E-BBF8-179FFF93E992}" type="pres">
      <dgm:prSet presAssocID="{5C0CD464-DB8D-4BC7-9950-28145E515E41}" presName="ConnectLine" presStyleLbl="sibTrans1D1" presStyleIdx="11" presStyleCnt="12"/>
      <dgm:spPr>
        <a:noFill/>
        <a:ln w="12700" cap="flat" cmpd="sng" algn="ctr">
          <a:solidFill>
            <a:schemeClr val="accent1">
              <a:hueOff val="0"/>
              <a:satOff val="0"/>
              <a:lumOff val="0"/>
              <a:alphaOff val="0"/>
            </a:schemeClr>
          </a:solidFill>
          <a:prstDash val="dash"/>
          <a:miter lim="800000"/>
        </a:ln>
        <a:effectLst/>
      </dgm:spPr>
    </dgm:pt>
    <dgm:pt modelId="{5B549C08-ECB7-4CFC-A74B-E00465610BF3}" type="pres">
      <dgm:prSet presAssocID="{5C0CD464-DB8D-4BC7-9950-28145E515E41}" presName="ConnectorPoint" presStyleLbl="alignNode1" presStyleIdx="11" presStyleCnt="12"/>
      <dgm:spPr/>
    </dgm:pt>
    <dgm:pt modelId="{166600F5-97E4-4B91-AB6A-05D51EF32FE9}" type="pres">
      <dgm:prSet presAssocID="{5C0CD464-DB8D-4BC7-9950-28145E515E41}" presName="EmptyPlaceHolder" presStyleCnt="0"/>
      <dgm:spPr/>
    </dgm:pt>
  </dgm:ptLst>
  <dgm:cxnLst>
    <dgm:cxn modelId="{29C67E0C-5CF4-4FA3-89BC-BFE474A5FCEA}" srcId="{DB19ED30-9F6B-4D70-95A1-7FB076300D6E}" destId="{C0E03006-254B-4F9D-9324-951611B0675D}" srcOrd="0" destOrd="0" parTransId="{829908C0-C327-4A79-8B75-11889AA4FACF}" sibTransId="{3295449A-A6CC-4619-9B70-176BE25BF4B9}"/>
    <dgm:cxn modelId="{CB966D16-1D18-4737-8E30-F9261A9F6C79}" srcId="{3A88956C-C0E0-4E54-B71E-B8A41F3EEDF7}" destId="{DB19ED30-9F6B-4D70-95A1-7FB076300D6E}" srcOrd="8" destOrd="0" parTransId="{94B055B5-9AAF-4330-BED5-9518BF453CAF}" sibTransId="{077A1AEC-EE45-4463-B8BF-4E464B8F7071}"/>
    <dgm:cxn modelId="{016D2118-A203-417E-878A-0B091275BFFC}" type="presOf" srcId="{71A217F8-F2EE-4AEE-A524-C607F2BBE755}" destId="{BDFD85EC-013F-4995-AE86-0F65C1B7A7F7}" srcOrd="0" destOrd="0" presId="urn:microsoft.com/office/officeart/2016/7/layout/BasicTimeline"/>
    <dgm:cxn modelId="{32583B20-F4AA-4BC8-ADFB-2ACFB23F613B}" srcId="{3A88956C-C0E0-4E54-B71E-B8A41F3EEDF7}" destId="{C6EF032F-9292-42CE-A9BD-D9405FA22CAD}" srcOrd="5" destOrd="0" parTransId="{6F5BA288-3B8B-4B5B-9DC5-A260F2C08629}" sibTransId="{125A7819-363F-4555-8F96-20C79B33CCE8}"/>
    <dgm:cxn modelId="{A7FE7A27-3B0B-40A1-8DB8-153B197F71F6}" type="presOf" srcId="{B8ACFAE5-1E77-4652-B073-F6750AF78D7C}" destId="{064CB2A6-4315-4227-9E7A-B1F26611D30F}" srcOrd="0" destOrd="0" presId="urn:microsoft.com/office/officeart/2016/7/layout/BasicTimeline"/>
    <dgm:cxn modelId="{35A69828-E483-46D8-BF15-1ADB0D9A9AB3}" type="presOf" srcId="{6469A0C0-2B0B-4DFB-8EBF-4456C110AACB}" destId="{D28C15F4-103E-40ED-813F-B2745FEBA480}" srcOrd="0" destOrd="0" presId="urn:microsoft.com/office/officeart/2016/7/layout/BasicTimeline"/>
    <dgm:cxn modelId="{C55A432A-54D2-46B6-BCDB-306138C1710C}" srcId="{410EED11-6D2F-48CE-8F50-B4A88EC3824D}" destId="{158F8264-A6E4-4CFB-8908-73A8587C4454}" srcOrd="0" destOrd="0" parTransId="{0A891388-08D1-4B5C-8780-4D000B48A7B8}" sibTransId="{44301F5E-1C48-4374-B4B3-77917D97D2C4}"/>
    <dgm:cxn modelId="{0BC1712A-96AA-420B-AFA4-B701F1ACCF0B}" type="presOf" srcId="{1025AEAF-0A84-4FDE-B75C-2256E4CB4946}" destId="{86434443-72B6-4206-886D-95F8399164A7}" srcOrd="0" destOrd="0" presId="urn:microsoft.com/office/officeart/2016/7/layout/BasicTimeline"/>
    <dgm:cxn modelId="{BD567E33-5FB8-46F0-BFB8-F0351C81E8A3}" type="presOf" srcId="{410EED11-6D2F-48CE-8F50-B4A88EC3824D}" destId="{02117495-2C03-45EB-9D38-3F8C737D0B9D}" srcOrd="0" destOrd="0" presId="urn:microsoft.com/office/officeart/2016/7/layout/BasicTimeline"/>
    <dgm:cxn modelId="{481A583C-1519-44EC-AD8E-0B38AF0911BA}" srcId="{3A88956C-C0E0-4E54-B71E-B8A41F3EEDF7}" destId="{71A217F8-F2EE-4AEE-A524-C607F2BBE755}" srcOrd="2" destOrd="0" parTransId="{B1296E37-774D-4C9D-B5B2-29CF0B28F5A2}" sibTransId="{E460CAB9-8591-40CC-85E9-FA13A9EFA501}"/>
    <dgm:cxn modelId="{C31EE43D-E224-454F-9145-FB32C9F02DAF}" srcId="{3A88956C-C0E0-4E54-B71E-B8A41F3EEDF7}" destId="{FE44639F-E4FE-4044-94F4-F8995BF325FE}" srcOrd="3" destOrd="0" parTransId="{64A68213-3579-47E8-849A-016950E69D14}" sibTransId="{CCF513BC-DF64-4FD4-9739-E46F7F654815}"/>
    <dgm:cxn modelId="{741E8C42-F513-4930-9AE9-9FB0F6C0AD66}" srcId="{ACEE0283-2499-4D69-B3C2-F2450F4B6894}" destId="{B8ACFAE5-1E77-4652-B073-F6750AF78D7C}" srcOrd="0" destOrd="0" parTransId="{2597F28F-379F-46CB-84CD-357014B9328F}" sibTransId="{5A4000FA-51B3-4216-94E9-78C8FE77B339}"/>
    <dgm:cxn modelId="{30A76C63-0EF9-40CB-AB00-24DCCCF3FD47}" type="presOf" srcId="{7F3D0FFB-2684-4224-9FCC-1F0586F49F58}" destId="{0EDA702C-9A43-4D92-BC99-160D8E2E05CA}" srcOrd="0" destOrd="0" presId="urn:microsoft.com/office/officeart/2016/7/layout/BasicTimeline"/>
    <dgm:cxn modelId="{81B03C67-299A-4993-B2E6-9F8A6334E7F1}" type="presOf" srcId="{C6EF032F-9292-42CE-A9BD-D9405FA22CAD}" destId="{93E5B0CA-065B-4608-B089-3E9BEC562690}" srcOrd="0" destOrd="0" presId="urn:microsoft.com/office/officeart/2016/7/layout/BasicTimeline"/>
    <dgm:cxn modelId="{D4A4014F-A330-4E63-A727-0BC32153C4DA}" type="presOf" srcId="{6836F9F1-E68A-43C3-8306-A496545D1C77}" destId="{5D63734E-B461-42CD-89EA-6193551377B9}" srcOrd="0" destOrd="0" presId="urn:microsoft.com/office/officeart/2016/7/layout/BasicTimeline"/>
    <dgm:cxn modelId="{B1D46A73-EB96-409D-8EAA-EDA90092BB08}" srcId="{3A88956C-C0E0-4E54-B71E-B8A41F3EEDF7}" destId="{DDAD741C-6C6D-49AB-A39B-7A0FF7FB6ED0}" srcOrd="10" destOrd="0" parTransId="{A8F81993-F58D-47BA-A489-A9777D259C98}" sibTransId="{1D8F6FC3-6F80-4B52-B8F9-5A5EC5822A54}"/>
    <dgm:cxn modelId="{1E33D356-7F88-4161-A56C-CF60AF55C7EF}" srcId="{71A217F8-F2EE-4AEE-A524-C607F2BBE755}" destId="{1CA03F00-31E5-427F-8FE5-2FAEC4806B43}" srcOrd="0" destOrd="0" parTransId="{2B11CA15-4464-492D-8040-FB157FEBF3E3}" sibTransId="{AE984B3E-1BB5-44C5-8D51-9FF82AD95BFB}"/>
    <dgm:cxn modelId="{91A9FC57-1401-4E33-B0FC-A525DB4C34E6}" srcId="{3A88956C-C0E0-4E54-B71E-B8A41F3EEDF7}" destId="{20925219-0D0E-4FA1-81C7-0112E5D47137}" srcOrd="4" destOrd="0" parTransId="{FB0C7CFE-C124-40EF-B3BA-AA27E6F9C4BF}" sibTransId="{75095F22-7782-40C1-9BB0-3BA18ACD76D8}"/>
    <dgm:cxn modelId="{351A3459-B202-427E-A6B7-4F81127F67DE}" type="presOf" srcId="{5C0CD464-DB8D-4BC7-9950-28145E515E41}" destId="{1C07980A-01AD-4375-B30D-3B9566D433DF}" srcOrd="0" destOrd="0" presId="urn:microsoft.com/office/officeart/2016/7/layout/BasicTimeline"/>
    <dgm:cxn modelId="{D274227A-78B4-4273-82ED-DF97611B3252}" type="presOf" srcId="{7E78AEEC-D7F1-4B14-81A0-F5C65D017A5A}" destId="{75D04FFC-FEEB-47C4-9877-6E99BA0852F2}" srcOrd="0" destOrd="0" presId="urn:microsoft.com/office/officeart/2016/7/layout/BasicTimeline"/>
    <dgm:cxn modelId="{F10CF75A-81D9-4772-A8D4-29A51F9AF0C5}" srcId="{C6EF032F-9292-42CE-A9BD-D9405FA22CAD}" destId="{C71D9A31-A3D4-4128-B688-149E6AF5D5D0}" srcOrd="0" destOrd="0" parTransId="{39D5DE04-1333-40BF-8152-2171386453D8}" sibTransId="{C8E9C9DE-2BED-4364-9103-9101D4D02E90}"/>
    <dgm:cxn modelId="{7D8C4D7E-B06D-4FBC-B4CF-CF28E18FD249}" type="presOf" srcId="{3CFC03F5-BF14-43B5-9BB9-C7AF31E52005}" destId="{402B45B8-DDF6-46BF-8649-85E6319DB434}" srcOrd="0" destOrd="0" presId="urn:microsoft.com/office/officeart/2016/7/layout/BasicTimeline"/>
    <dgm:cxn modelId="{876BD183-1598-47B2-A1AF-F5849E267C87}" type="presOf" srcId="{0AB334EB-5CEB-4F65-AACE-3BC7A37E2BC4}" destId="{21758050-3853-4B51-A8CC-AA46B6F191AF}" srcOrd="0" destOrd="0" presId="urn:microsoft.com/office/officeart/2016/7/layout/BasicTimeline"/>
    <dgm:cxn modelId="{68A5D584-8EB5-42FF-9F31-70A32696E865}" type="presOf" srcId="{4217733C-3A47-4632-AFCB-44E2550E15D7}" destId="{4F99AAA0-789C-4F0A-8031-BA508144999C}" srcOrd="0" destOrd="0" presId="urn:microsoft.com/office/officeart/2016/7/layout/BasicTimeline"/>
    <dgm:cxn modelId="{520D9C89-2940-457F-8C75-61DB4298F942}" srcId="{3A88956C-C0E0-4E54-B71E-B8A41F3EEDF7}" destId="{ACEE0283-2499-4D69-B3C2-F2450F4B6894}" srcOrd="6" destOrd="0" parTransId="{74BECB10-7047-4D2E-A2C5-5EE039FC7450}" sibTransId="{B2F78E3B-1DE9-414E-A2C3-C8A5896F2AC4}"/>
    <dgm:cxn modelId="{473AD28B-2BB1-4A60-B118-3892B3DFD253}" type="presOf" srcId="{FE44639F-E4FE-4044-94F4-F8995BF325FE}" destId="{6F5250A7-5B2E-401F-A5C5-D29AD5CBAF71}" srcOrd="0" destOrd="0" presId="urn:microsoft.com/office/officeart/2016/7/layout/BasicTimeline"/>
    <dgm:cxn modelId="{7BA4A68D-458F-442F-9D3E-83542912CB57}" srcId="{FE44639F-E4FE-4044-94F4-F8995BF325FE}" destId="{4217733C-3A47-4632-AFCB-44E2550E15D7}" srcOrd="0" destOrd="0" parTransId="{7951E51A-2690-4D31-8E24-43301BD71247}" sibTransId="{4F1890A1-488F-4D71-AC83-6F28A5BB605A}"/>
    <dgm:cxn modelId="{EED87F90-168E-4217-9478-396D97F5E4AC}" type="presOf" srcId="{C71D9A31-A3D4-4128-B688-149E6AF5D5D0}" destId="{549EDA36-AD69-41FD-A16A-D0E3037E2ACC}" srcOrd="0" destOrd="0" presId="urn:microsoft.com/office/officeart/2016/7/layout/BasicTimeline"/>
    <dgm:cxn modelId="{32A9899A-77F9-4506-A921-FB72976BC0E0}" srcId="{3A88956C-C0E0-4E54-B71E-B8A41F3EEDF7}" destId="{3CFC03F5-BF14-43B5-9BB9-C7AF31E52005}" srcOrd="1" destOrd="0" parTransId="{267F4BCD-C95E-4ACD-960E-DB4374E66DC4}" sibTransId="{1821C12C-2BF3-40F2-84F0-A07F6AF863EB}"/>
    <dgm:cxn modelId="{FC46589B-DF1A-4D77-A52E-B662ADFC7CF4}" srcId="{3A88956C-C0E0-4E54-B71E-B8A41F3EEDF7}" destId="{0AB334EB-5CEB-4F65-AACE-3BC7A37E2BC4}" srcOrd="7" destOrd="0" parTransId="{72C325EA-6207-485D-9C6D-26DD80C81967}" sibTransId="{77744919-8B2D-4A38-B189-B2D1364A6F56}"/>
    <dgm:cxn modelId="{E5AA60A2-E9BB-4B78-80E0-41500B19D564}" srcId="{3CFC03F5-BF14-43B5-9BB9-C7AF31E52005}" destId="{7E78AEEC-D7F1-4B14-81A0-F5C65D017A5A}" srcOrd="0" destOrd="0" parTransId="{283463EF-8481-4791-8C96-B6B7B95C99E8}" sibTransId="{E86BEEC0-E5FF-419E-A140-05B065937B64}"/>
    <dgm:cxn modelId="{147DF3A6-4368-4287-8C79-0FD521C45DC7}" type="presOf" srcId="{E086656D-943F-4B1B-9867-D66808385F9A}" destId="{8A968E83-85CC-4BB1-B13F-1CC8C94A33E0}" srcOrd="0" destOrd="0" presId="urn:microsoft.com/office/officeart/2016/7/layout/BasicTimeline"/>
    <dgm:cxn modelId="{209F29AA-A74C-48FF-9C37-CEDEC20C9BDE}" srcId="{5C0CD464-DB8D-4BC7-9950-28145E515E41}" destId="{1025AEAF-0A84-4FDE-B75C-2256E4CB4946}" srcOrd="0" destOrd="0" parTransId="{F84D4D97-F0F8-4E87-8474-ABFB487509C8}" sibTransId="{D5C148C3-EDC9-4F1E-B4CB-D9EAD77B1B2B}"/>
    <dgm:cxn modelId="{2F642EAC-7F44-4AFD-81ED-02EAC1F86FB2}" srcId="{20925219-0D0E-4FA1-81C7-0112E5D47137}" destId="{E086656D-943F-4B1B-9867-D66808385F9A}" srcOrd="0" destOrd="0" parTransId="{4F703516-0D43-4AB3-B9A4-B2067EBD24D8}" sibTransId="{F310D486-7974-4A43-9DEF-51B2DFAF3A89}"/>
    <dgm:cxn modelId="{A6CB42AF-822E-4194-B336-8A1DF8AF5C5A}" srcId="{53F7C91C-13C5-4363-B2C0-9666BF107CAC}" destId="{6469A0C0-2B0B-4DFB-8EBF-4456C110AACB}" srcOrd="0" destOrd="0" parTransId="{639EA5CD-D5E1-43E3-977B-AAF83569D9FF}" sibTransId="{A038A1C3-D326-40D5-AB0C-D1DBA638C4E8}"/>
    <dgm:cxn modelId="{56A1A7B0-CE0B-4FAF-B93B-16CF2D671044}" type="presOf" srcId="{DB19ED30-9F6B-4D70-95A1-7FB076300D6E}" destId="{63B8CC74-0B1E-49F4-9390-E1AE2D668100}" srcOrd="0" destOrd="0" presId="urn:microsoft.com/office/officeart/2016/7/layout/BasicTimeline"/>
    <dgm:cxn modelId="{A44436B3-90B0-4EA9-8AF9-B48DF8E84987}" srcId="{3A88956C-C0E0-4E54-B71E-B8A41F3EEDF7}" destId="{5C0CD464-DB8D-4BC7-9950-28145E515E41}" srcOrd="11" destOrd="0" parTransId="{0EBB3D6F-E66D-4A08-99F0-89B57A35B732}" sibTransId="{BAD297CF-62C1-4EB6-B05D-336EDBB1CCEF}"/>
    <dgm:cxn modelId="{4CA11BBA-1A90-4A70-81F9-F227BD7BE008}" srcId="{3A88956C-C0E0-4E54-B71E-B8A41F3EEDF7}" destId="{53F7C91C-13C5-4363-B2C0-9666BF107CAC}" srcOrd="9" destOrd="0" parTransId="{9C3888C7-13F0-45C0-96F3-AC44F2534B86}" sibTransId="{4479FB35-B76E-4018-BDE5-C7CF7882BF8A}"/>
    <dgm:cxn modelId="{97922DBF-8671-4526-A5B3-BE662FE59A3D}" type="presOf" srcId="{1CA03F00-31E5-427F-8FE5-2FAEC4806B43}" destId="{8EAA996E-5944-448E-94B4-30623914FCD7}" srcOrd="0" destOrd="0" presId="urn:microsoft.com/office/officeart/2016/7/layout/BasicTimeline"/>
    <dgm:cxn modelId="{20314BC7-0520-41F0-B32B-E0DB00AC13A2}" srcId="{DDAD741C-6C6D-49AB-A39B-7A0FF7FB6ED0}" destId="{6836F9F1-E68A-43C3-8306-A496545D1C77}" srcOrd="0" destOrd="0" parTransId="{B65750BD-1B67-4A86-9B9B-01BDBC05A4B0}" sibTransId="{A87DF6E6-0482-4957-ABF7-554ABB9B237A}"/>
    <dgm:cxn modelId="{B64520D0-41F5-4E36-8132-6E986E404F38}" srcId="{3A88956C-C0E0-4E54-B71E-B8A41F3EEDF7}" destId="{410EED11-6D2F-48CE-8F50-B4A88EC3824D}" srcOrd="0" destOrd="0" parTransId="{44E7C450-1743-4AC2-8C0B-B198173CBFB3}" sibTransId="{9625D120-AB90-4969-97A7-8A1FDB40FC5F}"/>
    <dgm:cxn modelId="{8AF9B9D1-AD97-4FD0-BC73-041FAAD7C341}" type="presOf" srcId="{3A88956C-C0E0-4E54-B71E-B8A41F3EEDF7}" destId="{D2532DFE-72C0-47F5-90B8-A2C742D46AAF}" srcOrd="0" destOrd="0" presId="urn:microsoft.com/office/officeart/2016/7/layout/BasicTimeline"/>
    <dgm:cxn modelId="{24FAF2DC-C02B-439D-8B3C-81AE202F5CE0}" type="presOf" srcId="{ACEE0283-2499-4D69-B3C2-F2450F4B6894}" destId="{56E63CC0-092F-4C71-9364-34332E029340}" srcOrd="0" destOrd="0" presId="urn:microsoft.com/office/officeart/2016/7/layout/BasicTimeline"/>
    <dgm:cxn modelId="{CEC52BE8-93CA-4881-9EAE-94A6E8BE238C}" type="presOf" srcId="{158F8264-A6E4-4CFB-8908-73A8587C4454}" destId="{851592A8-800B-4949-8033-0F177B21FCA2}" srcOrd="0" destOrd="0" presId="urn:microsoft.com/office/officeart/2016/7/layout/BasicTimeline"/>
    <dgm:cxn modelId="{261E83EF-A530-4ADD-AABE-79D558CBFC93}" type="presOf" srcId="{C0E03006-254B-4F9D-9324-951611B0675D}" destId="{1F3ABD65-4622-4E44-BD90-900EFFEEF88A}" srcOrd="0" destOrd="0" presId="urn:microsoft.com/office/officeart/2016/7/layout/BasicTimeline"/>
    <dgm:cxn modelId="{4F2F4CF0-D60F-49E9-9246-80B52D96247D}" type="presOf" srcId="{DDAD741C-6C6D-49AB-A39B-7A0FF7FB6ED0}" destId="{1E0105D9-BFA2-4FBC-B676-3A5B532286CA}" srcOrd="0" destOrd="0" presId="urn:microsoft.com/office/officeart/2016/7/layout/BasicTimeline"/>
    <dgm:cxn modelId="{B011E9F3-8377-4F78-A393-E2D71693F26E}" srcId="{0AB334EB-5CEB-4F65-AACE-3BC7A37E2BC4}" destId="{7F3D0FFB-2684-4224-9FCC-1F0586F49F58}" srcOrd="0" destOrd="0" parTransId="{F01E9D24-DDFC-4144-9F99-B607FC91EE6B}" sibTransId="{387C2E86-5BDC-46ED-8FDA-A5149DD2974E}"/>
    <dgm:cxn modelId="{6BA754FE-DAC3-460B-8BFA-3F0E53A017A9}" type="presOf" srcId="{53F7C91C-13C5-4363-B2C0-9666BF107CAC}" destId="{93353B55-EA56-415C-B1FD-3FDBDF9A1696}" srcOrd="0" destOrd="0" presId="urn:microsoft.com/office/officeart/2016/7/layout/BasicTimeline"/>
    <dgm:cxn modelId="{C4DD15FF-E1F1-422B-B21D-19E8BF4EDDED}" type="presOf" srcId="{20925219-0D0E-4FA1-81C7-0112E5D47137}" destId="{47699920-02E4-4B73-B16B-D018CDA56710}" srcOrd="0" destOrd="0" presId="urn:microsoft.com/office/officeart/2016/7/layout/BasicTimeline"/>
    <dgm:cxn modelId="{44FE2D2E-AE53-42BA-A411-695B1B30A086}" type="presParOf" srcId="{D2532DFE-72C0-47F5-90B8-A2C742D46AAF}" destId="{512A3DF5-0003-4DBA-BF3F-32C24C9A7484}" srcOrd="0" destOrd="0" presId="urn:microsoft.com/office/officeart/2016/7/layout/BasicTimeline"/>
    <dgm:cxn modelId="{4230EEC3-BA49-429C-A8A3-91E08F65B725}" type="presParOf" srcId="{D2532DFE-72C0-47F5-90B8-A2C742D46AAF}" destId="{9294E967-7BCB-4F4F-973C-94D01A195E96}" srcOrd="1" destOrd="0" presId="urn:microsoft.com/office/officeart/2016/7/layout/BasicTimeline"/>
    <dgm:cxn modelId="{C2EA9B4A-7131-45E4-9569-0EC0246F364C}" type="presParOf" srcId="{9294E967-7BCB-4F4F-973C-94D01A195E96}" destId="{D01FCFC1-6624-4AF4-8851-FE376C7607B1}" srcOrd="0" destOrd="0" presId="urn:microsoft.com/office/officeart/2016/7/layout/BasicTimeline"/>
    <dgm:cxn modelId="{BFCF74F0-EEFD-49CD-8C33-FFB0EDC6D28C}" type="presParOf" srcId="{D01FCFC1-6624-4AF4-8851-FE376C7607B1}" destId="{02117495-2C03-45EB-9D38-3F8C737D0B9D}" srcOrd="0" destOrd="0" presId="urn:microsoft.com/office/officeart/2016/7/layout/BasicTimeline"/>
    <dgm:cxn modelId="{D049B4D9-4645-4A0B-95AB-E2E1E18A8C48}" type="presParOf" srcId="{D01FCFC1-6624-4AF4-8851-FE376C7607B1}" destId="{4D09AACC-3182-446B-AC52-284112373015}" srcOrd="1" destOrd="0" presId="urn:microsoft.com/office/officeart/2016/7/layout/BasicTimeline"/>
    <dgm:cxn modelId="{DB9907E1-0DB8-4A3F-9653-61A9D92F4C2E}" type="presParOf" srcId="{4D09AACC-3182-446B-AC52-284112373015}" destId="{851592A8-800B-4949-8033-0F177B21FCA2}" srcOrd="0" destOrd="0" presId="urn:microsoft.com/office/officeart/2016/7/layout/BasicTimeline"/>
    <dgm:cxn modelId="{6166A69B-C870-4D3B-B4F8-5BE9762562E9}" type="presParOf" srcId="{4D09AACC-3182-446B-AC52-284112373015}" destId="{B0E65E2E-1458-47DD-861C-F140B1788EFB}" srcOrd="1" destOrd="0" presId="urn:microsoft.com/office/officeart/2016/7/layout/BasicTimeline"/>
    <dgm:cxn modelId="{44F8D4EC-29FA-4AEE-8D1A-2FE65A8BCA97}" type="presParOf" srcId="{D01FCFC1-6624-4AF4-8851-FE376C7607B1}" destId="{93B7B749-7B63-40FF-A248-356BFDFFDCA3}" srcOrd="2" destOrd="0" presId="urn:microsoft.com/office/officeart/2016/7/layout/BasicTimeline"/>
    <dgm:cxn modelId="{5C08B561-0F92-47BC-B37D-CF3A482DFB39}" type="presParOf" srcId="{D01FCFC1-6624-4AF4-8851-FE376C7607B1}" destId="{491C9692-CE1D-40A0-9FB6-9D8A67F31240}" srcOrd="3" destOrd="0" presId="urn:microsoft.com/office/officeart/2016/7/layout/BasicTimeline"/>
    <dgm:cxn modelId="{2ABAE730-8344-4C40-838F-FE7E59C43048}" type="presParOf" srcId="{D01FCFC1-6624-4AF4-8851-FE376C7607B1}" destId="{1D908DA1-C96C-4ABD-B7CE-9AD1E260A606}" srcOrd="4" destOrd="0" presId="urn:microsoft.com/office/officeart/2016/7/layout/BasicTimeline"/>
    <dgm:cxn modelId="{FE44F528-0BFF-400D-B91A-7679BC3E2CCC}" type="presParOf" srcId="{9294E967-7BCB-4F4F-973C-94D01A195E96}" destId="{DCF6E3A1-4D44-460C-A2DB-A9E6B5BA2015}" srcOrd="1" destOrd="0" presId="urn:microsoft.com/office/officeart/2016/7/layout/BasicTimeline"/>
    <dgm:cxn modelId="{71889E1D-D0EB-4E17-8A3E-9E1C608DE943}" type="presParOf" srcId="{9294E967-7BCB-4F4F-973C-94D01A195E96}" destId="{5782E884-51E8-46CF-A1D4-C786F8F55048}" srcOrd="2" destOrd="0" presId="urn:microsoft.com/office/officeart/2016/7/layout/BasicTimeline"/>
    <dgm:cxn modelId="{18741FB6-672C-4736-B799-EDE646D91FE8}" type="presParOf" srcId="{5782E884-51E8-46CF-A1D4-C786F8F55048}" destId="{402B45B8-DDF6-46BF-8649-85E6319DB434}" srcOrd="0" destOrd="0" presId="urn:microsoft.com/office/officeart/2016/7/layout/BasicTimeline"/>
    <dgm:cxn modelId="{67153D6A-2C61-4F14-85B9-69FC93EDF604}" type="presParOf" srcId="{5782E884-51E8-46CF-A1D4-C786F8F55048}" destId="{04686C1A-A53B-48DC-BBBE-ECD48687668C}" srcOrd="1" destOrd="0" presId="urn:microsoft.com/office/officeart/2016/7/layout/BasicTimeline"/>
    <dgm:cxn modelId="{0C4ACB1C-1159-4383-8938-5995BBDC0342}" type="presParOf" srcId="{04686C1A-A53B-48DC-BBBE-ECD48687668C}" destId="{75D04FFC-FEEB-47C4-9877-6E99BA0852F2}" srcOrd="0" destOrd="0" presId="urn:microsoft.com/office/officeart/2016/7/layout/BasicTimeline"/>
    <dgm:cxn modelId="{74A647E1-B8CF-4874-83EF-BD618406E63B}" type="presParOf" srcId="{04686C1A-A53B-48DC-BBBE-ECD48687668C}" destId="{746E2AB9-2772-4E2D-A292-4C09D09B4902}" srcOrd="1" destOrd="0" presId="urn:microsoft.com/office/officeart/2016/7/layout/BasicTimeline"/>
    <dgm:cxn modelId="{82CD8712-CCF8-46DC-A77B-CC51E586C326}" type="presParOf" srcId="{5782E884-51E8-46CF-A1D4-C786F8F55048}" destId="{B5491679-479B-4918-B26B-91E4BAACBCA2}" srcOrd="2" destOrd="0" presId="urn:microsoft.com/office/officeart/2016/7/layout/BasicTimeline"/>
    <dgm:cxn modelId="{18EEFF3F-A69E-4F42-8DDC-FA38EA6A480E}" type="presParOf" srcId="{5782E884-51E8-46CF-A1D4-C786F8F55048}" destId="{2028862D-B925-4921-8992-4EBF035DE8C9}" srcOrd="3" destOrd="0" presId="urn:microsoft.com/office/officeart/2016/7/layout/BasicTimeline"/>
    <dgm:cxn modelId="{45706CB7-EC63-4DCA-BCD2-7F7961961553}" type="presParOf" srcId="{5782E884-51E8-46CF-A1D4-C786F8F55048}" destId="{D20F00E0-2192-4078-8EDE-2183DB1C3CD3}" srcOrd="4" destOrd="0" presId="urn:microsoft.com/office/officeart/2016/7/layout/BasicTimeline"/>
    <dgm:cxn modelId="{91B586F4-BB6E-4B4C-AE38-46615CBEB7A5}" type="presParOf" srcId="{9294E967-7BCB-4F4F-973C-94D01A195E96}" destId="{3CA530C0-E327-4A50-81C0-3E4622E4A7C0}" srcOrd="3" destOrd="0" presId="urn:microsoft.com/office/officeart/2016/7/layout/BasicTimeline"/>
    <dgm:cxn modelId="{1537A80D-EF9E-4356-B29B-05653A478279}" type="presParOf" srcId="{9294E967-7BCB-4F4F-973C-94D01A195E96}" destId="{B6E17AFA-644A-4138-B560-2BCFCD0F5E43}" srcOrd="4" destOrd="0" presId="urn:microsoft.com/office/officeart/2016/7/layout/BasicTimeline"/>
    <dgm:cxn modelId="{0B99531F-2C03-41CE-A843-56FC3D516B1B}" type="presParOf" srcId="{B6E17AFA-644A-4138-B560-2BCFCD0F5E43}" destId="{BDFD85EC-013F-4995-AE86-0F65C1B7A7F7}" srcOrd="0" destOrd="0" presId="urn:microsoft.com/office/officeart/2016/7/layout/BasicTimeline"/>
    <dgm:cxn modelId="{FE03A5C1-EF99-409F-B1FD-24A20BD686ED}" type="presParOf" srcId="{B6E17AFA-644A-4138-B560-2BCFCD0F5E43}" destId="{BF973B47-7E29-442E-BB92-B2DC726BFA89}" srcOrd="1" destOrd="0" presId="urn:microsoft.com/office/officeart/2016/7/layout/BasicTimeline"/>
    <dgm:cxn modelId="{4C50119A-64C4-437F-9428-21F8B5478512}" type="presParOf" srcId="{BF973B47-7E29-442E-BB92-B2DC726BFA89}" destId="{8EAA996E-5944-448E-94B4-30623914FCD7}" srcOrd="0" destOrd="0" presId="urn:microsoft.com/office/officeart/2016/7/layout/BasicTimeline"/>
    <dgm:cxn modelId="{90E542CC-0BC5-465F-A1A4-8632AA3647D3}" type="presParOf" srcId="{BF973B47-7E29-442E-BB92-B2DC726BFA89}" destId="{CE1B6072-3CF6-425F-942C-49A03E8D92CC}" srcOrd="1" destOrd="0" presId="urn:microsoft.com/office/officeart/2016/7/layout/BasicTimeline"/>
    <dgm:cxn modelId="{C6B55E3E-273B-4ED0-868A-2109ED00CDD5}" type="presParOf" srcId="{B6E17AFA-644A-4138-B560-2BCFCD0F5E43}" destId="{6742855A-45E4-42A9-91EF-A9F27B9AA705}" srcOrd="2" destOrd="0" presId="urn:microsoft.com/office/officeart/2016/7/layout/BasicTimeline"/>
    <dgm:cxn modelId="{E3BC9527-E892-4709-8B8C-C7EE79DE8106}" type="presParOf" srcId="{B6E17AFA-644A-4138-B560-2BCFCD0F5E43}" destId="{66066EC4-7581-4064-A630-9CBD32EF3F39}" srcOrd="3" destOrd="0" presId="urn:microsoft.com/office/officeart/2016/7/layout/BasicTimeline"/>
    <dgm:cxn modelId="{DD298E18-F321-4AC7-9186-5BB604E71D4E}" type="presParOf" srcId="{B6E17AFA-644A-4138-B560-2BCFCD0F5E43}" destId="{F7B9AD3E-1A40-4300-AAA7-F18FDF6C2FD1}" srcOrd="4" destOrd="0" presId="urn:microsoft.com/office/officeart/2016/7/layout/BasicTimeline"/>
    <dgm:cxn modelId="{D9AB6B8E-F97F-4830-B0AA-2BDB9635F801}" type="presParOf" srcId="{9294E967-7BCB-4F4F-973C-94D01A195E96}" destId="{0F28A394-B772-495E-B977-1986EC64F63B}" srcOrd="5" destOrd="0" presId="urn:microsoft.com/office/officeart/2016/7/layout/BasicTimeline"/>
    <dgm:cxn modelId="{BA840390-5F9C-4F5D-8AA5-9B406AA1A39B}" type="presParOf" srcId="{9294E967-7BCB-4F4F-973C-94D01A195E96}" destId="{0414502E-9929-4FF3-AFB5-11CD247BC758}" srcOrd="6" destOrd="0" presId="urn:microsoft.com/office/officeart/2016/7/layout/BasicTimeline"/>
    <dgm:cxn modelId="{D05E88F7-B382-4979-99AF-CABE934DA799}" type="presParOf" srcId="{0414502E-9929-4FF3-AFB5-11CD247BC758}" destId="{6F5250A7-5B2E-401F-A5C5-D29AD5CBAF71}" srcOrd="0" destOrd="0" presId="urn:microsoft.com/office/officeart/2016/7/layout/BasicTimeline"/>
    <dgm:cxn modelId="{1A73C407-250A-4D8E-BDA5-5B328A09832A}" type="presParOf" srcId="{0414502E-9929-4FF3-AFB5-11CD247BC758}" destId="{C5F1EA89-41C7-48C6-A7FC-9F7613A7DA22}" srcOrd="1" destOrd="0" presId="urn:microsoft.com/office/officeart/2016/7/layout/BasicTimeline"/>
    <dgm:cxn modelId="{99C8DCDC-51AB-4B20-8F83-AA3E881A3849}" type="presParOf" srcId="{C5F1EA89-41C7-48C6-A7FC-9F7613A7DA22}" destId="{4F99AAA0-789C-4F0A-8031-BA508144999C}" srcOrd="0" destOrd="0" presId="urn:microsoft.com/office/officeart/2016/7/layout/BasicTimeline"/>
    <dgm:cxn modelId="{B8428EFD-C033-431E-94A4-F62E144CEDDA}" type="presParOf" srcId="{C5F1EA89-41C7-48C6-A7FC-9F7613A7DA22}" destId="{40CA5368-E18C-4D5C-A838-5B0BC8115D53}" srcOrd="1" destOrd="0" presId="urn:microsoft.com/office/officeart/2016/7/layout/BasicTimeline"/>
    <dgm:cxn modelId="{64EAB0EC-5550-4EEE-B326-A372875A680F}" type="presParOf" srcId="{0414502E-9929-4FF3-AFB5-11CD247BC758}" destId="{EF0D61A1-6307-44A1-A4CC-EB8BE480E3DA}" srcOrd="2" destOrd="0" presId="urn:microsoft.com/office/officeart/2016/7/layout/BasicTimeline"/>
    <dgm:cxn modelId="{61A6DE26-8EA3-4055-AF57-FF4ED70394F6}" type="presParOf" srcId="{0414502E-9929-4FF3-AFB5-11CD247BC758}" destId="{1092DDF7-D56C-4C05-A9CA-1F41629D5963}" srcOrd="3" destOrd="0" presId="urn:microsoft.com/office/officeart/2016/7/layout/BasicTimeline"/>
    <dgm:cxn modelId="{DB6DEF86-5057-44BC-BF3C-2537EF6B2168}" type="presParOf" srcId="{0414502E-9929-4FF3-AFB5-11CD247BC758}" destId="{8F4BB660-3CD4-4942-A522-F630D84BAE2F}" srcOrd="4" destOrd="0" presId="urn:microsoft.com/office/officeart/2016/7/layout/BasicTimeline"/>
    <dgm:cxn modelId="{C1E2B315-2C30-4C51-A43A-CBC7C2FFF6AA}" type="presParOf" srcId="{9294E967-7BCB-4F4F-973C-94D01A195E96}" destId="{8C53D511-EEF9-4A6D-A449-5AA258BE2A47}" srcOrd="7" destOrd="0" presId="urn:microsoft.com/office/officeart/2016/7/layout/BasicTimeline"/>
    <dgm:cxn modelId="{7C667770-4F57-4CF6-938E-D049EABF00EA}" type="presParOf" srcId="{9294E967-7BCB-4F4F-973C-94D01A195E96}" destId="{081C5B8D-419E-46D5-9545-869822BF0B65}" srcOrd="8" destOrd="0" presId="urn:microsoft.com/office/officeart/2016/7/layout/BasicTimeline"/>
    <dgm:cxn modelId="{9D3A9EFF-D799-4A72-91F6-D513BE29A5F1}" type="presParOf" srcId="{081C5B8D-419E-46D5-9545-869822BF0B65}" destId="{47699920-02E4-4B73-B16B-D018CDA56710}" srcOrd="0" destOrd="0" presId="urn:microsoft.com/office/officeart/2016/7/layout/BasicTimeline"/>
    <dgm:cxn modelId="{84DDC2E9-C112-4633-9E57-D466664DB556}" type="presParOf" srcId="{081C5B8D-419E-46D5-9545-869822BF0B65}" destId="{80A1036D-91C1-4F10-A6E1-9FC59E9B1728}" srcOrd="1" destOrd="0" presId="urn:microsoft.com/office/officeart/2016/7/layout/BasicTimeline"/>
    <dgm:cxn modelId="{3B87F78F-92D0-4589-8591-82ABF4BF16BC}" type="presParOf" srcId="{80A1036D-91C1-4F10-A6E1-9FC59E9B1728}" destId="{8A968E83-85CC-4BB1-B13F-1CC8C94A33E0}" srcOrd="0" destOrd="0" presId="urn:microsoft.com/office/officeart/2016/7/layout/BasicTimeline"/>
    <dgm:cxn modelId="{C7500181-682B-43D7-97C7-4E714919D0BD}" type="presParOf" srcId="{80A1036D-91C1-4F10-A6E1-9FC59E9B1728}" destId="{CAD7BC14-B06C-471D-95B6-CFF56C8644FD}" srcOrd="1" destOrd="0" presId="urn:microsoft.com/office/officeart/2016/7/layout/BasicTimeline"/>
    <dgm:cxn modelId="{8F699E6F-C3F8-4D19-9512-FB3C5CF8CE62}" type="presParOf" srcId="{081C5B8D-419E-46D5-9545-869822BF0B65}" destId="{3F90257F-0C4B-4945-8BEB-E42CA69ADE4B}" srcOrd="2" destOrd="0" presId="urn:microsoft.com/office/officeart/2016/7/layout/BasicTimeline"/>
    <dgm:cxn modelId="{4E849373-C251-44A3-BF7E-478DD12104B2}" type="presParOf" srcId="{081C5B8D-419E-46D5-9545-869822BF0B65}" destId="{C62D84A2-5977-402E-9800-FDEA0B1A6ED8}" srcOrd="3" destOrd="0" presId="urn:microsoft.com/office/officeart/2016/7/layout/BasicTimeline"/>
    <dgm:cxn modelId="{0013C26F-8A9F-45E6-887E-A43C4EE21FB8}" type="presParOf" srcId="{081C5B8D-419E-46D5-9545-869822BF0B65}" destId="{2A50A1EA-59D8-4333-961B-80247A5D9D98}" srcOrd="4" destOrd="0" presId="urn:microsoft.com/office/officeart/2016/7/layout/BasicTimeline"/>
    <dgm:cxn modelId="{C1371321-0983-454B-A5D4-89ADD026A31B}" type="presParOf" srcId="{9294E967-7BCB-4F4F-973C-94D01A195E96}" destId="{C4D829D6-7DE8-4A1A-937E-96DCFDE2FABA}" srcOrd="9" destOrd="0" presId="urn:microsoft.com/office/officeart/2016/7/layout/BasicTimeline"/>
    <dgm:cxn modelId="{F9941207-9477-4143-AA14-DE98C8334EBC}" type="presParOf" srcId="{9294E967-7BCB-4F4F-973C-94D01A195E96}" destId="{4CA1F26D-3905-4645-8369-E7F89828E6A7}" srcOrd="10" destOrd="0" presId="urn:microsoft.com/office/officeart/2016/7/layout/BasicTimeline"/>
    <dgm:cxn modelId="{8FB5BEB9-45FE-4152-AE42-82FED4E23170}" type="presParOf" srcId="{4CA1F26D-3905-4645-8369-E7F89828E6A7}" destId="{93E5B0CA-065B-4608-B089-3E9BEC562690}" srcOrd="0" destOrd="0" presId="urn:microsoft.com/office/officeart/2016/7/layout/BasicTimeline"/>
    <dgm:cxn modelId="{2CAEC91E-C931-460B-B785-A4A319116A25}" type="presParOf" srcId="{4CA1F26D-3905-4645-8369-E7F89828E6A7}" destId="{CF32B9EE-FF7D-4B26-B7FD-91A8768D95F1}" srcOrd="1" destOrd="0" presId="urn:microsoft.com/office/officeart/2016/7/layout/BasicTimeline"/>
    <dgm:cxn modelId="{8A8D2B9D-90A8-454A-99AC-420A59A0C22B}" type="presParOf" srcId="{CF32B9EE-FF7D-4B26-B7FD-91A8768D95F1}" destId="{549EDA36-AD69-41FD-A16A-D0E3037E2ACC}" srcOrd="0" destOrd="0" presId="urn:microsoft.com/office/officeart/2016/7/layout/BasicTimeline"/>
    <dgm:cxn modelId="{232427D0-FDDE-4E8F-8E53-B8E5DE4A57F3}" type="presParOf" srcId="{CF32B9EE-FF7D-4B26-B7FD-91A8768D95F1}" destId="{31EB1D1D-0F7D-4DA1-A061-4D8C766FA5DE}" srcOrd="1" destOrd="0" presId="urn:microsoft.com/office/officeart/2016/7/layout/BasicTimeline"/>
    <dgm:cxn modelId="{91B4F6FE-8E4F-47AA-A8AC-68B308A50978}" type="presParOf" srcId="{4CA1F26D-3905-4645-8369-E7F89828E6A7}" destId="{0568A5B0-F273-406D-AD0F-2B5A226A07B1}" srcOrd="2" destOrd="0" presId="urn:microsoft.com/office/officeart/2016/7/layout/BasicTimeline"/>
    <dgm:cxn modelId="{CF25BC66-865F-439F-8BE3-FCF8FB582582}" type="presParOf" srcId="{4CA1F26D-3905-4645-8369-E7F89828E6A7}" destId="{382EE250-A5F6-4FDD-B915-5B0AFE9E335A}" srcOrd="3" destOrd="0" presId="urn:microsoft.com/office/officeart/2016/7/layout/BasicTimeline"/>
    <dgm:cxn modelId="{BA47FF63-E55C-4716-9631-4AC23BC6FC9A}" type="presParOf" srcId="{4CA1F26D-3905-4645-8369-E7F89828E6A7}" destId="{A1991ED1-120C-492A-B425-E493AFE4E952}" srcOrd="4" destOrd="0" presId="urn:microsoft.com/office/officeart/2016/7/layout/BasicTimeline"/>
    <dgm:cxn modelId="{A7192370-A58D-42B2-A1B8-F96A3F1AD821}" type="presParOf" srcId="{9294E967-7BCB-4F4F-973C-94D01A195E96}" destId="{5969DA81-96F0-4133-A4F6-A7CE33337ABC}" srcOrd="11" destOrd="0" presId="urn:microsoft.com/office/officeart/2016/7/layout/BasicTimeline"/>
    <dgm:cxn modelId="{6F1BEC2E-D47A-49D6-BA56-66C871D51F2D}" type="presParOf" srcId="{9294E967-7BCB-4F4F-973C-94D01A195E96}" destId="{41D3E42B-DCA4-4E62-8C14-51D86AC8E121}" srcOrd="12" destOrd="0" presId="urn:microsoft.com/office/officeart/2016/7/layout/BasicTimeline"/>
    <dgm:cxn modelId="{9088F660-8724-40E8-B9EB-B803E25468CD}" type="presParOf" srcId="{41D3E42B-DCA4-4E62-8C14-51D86AC8E121}" destId="{56E63CC0-092F-4C71-9364-34332E029340}" srcOrd="0" destOrd="0" presId="urn:microsoft.com/office/officeart/2016/7/layout/BasicTimeline"/>
    <dgm:cxn modelId="{6FBA3321-6448-4DC8-BF41-829B05A02DBC}" type="presParOf" srcId="{41D3E42B-DCA4-4E62-8C14-51D86AC8E121}" destId="{A3D3A8D2-2C43-4F25-B0EB-786278CB785E}" srcOrd="1" destOrd="0" presId="urn:microsoft.com/office/officeart/2016/7/layout/BasicTimeline"/>
    <dgm:cxn modelId="{D10EAB2B-92B2-4A8A-8C22-EA4A39BA6A74}" type="presParOf" srcId="{A3D3A8D2-2C43-4F25-B0EB-786278CB785E}" destId="{064CB2A6-4315-4227-9E7A-B1F26611D30F}" srcOrd="0" destOrd="0" presId="urn:microsoft.com/office/officeart/2016/7/layout/BasicTimeline"/>
    <dgm:cxn modelId="{B96F0537-4263-4BC9-B4D5-40B7061122B7}" type="presParOf" srcId="{A3D3A8D2-2C43-4F25-B0EB-786278CB785E}" destId="{7178C45C-9BD5-4C5E-A8D0-527284616988}" srcOrd="1" destOrd="0" presId="urn:microsoft.com/office/officeart/2016/7/layout/BasicTimeline"/>
    <dgm:cxn modelId="{5C464740-3F04-40B2-8ADF-32B9F534BC78}" type="presParOf" srcId="{41D3E42B-DCA4-4E62-8C14-51D86AC8E121}" destId="{32B95D75-C87A-47FE-AFAB-F5BC08131535}" srcOrd="2" destOrd="0" presId="urn:microsoft.com/office/officeart/2016/7/layout/BasicTimeline"/>
    <dgm:cxn modelId="{C63124D2-758A-49B8-A8A8-5B69357943B7}" type="presParOf" srcId="{41D3E42B-DCA4-4E62-8C14-51D86AC8E121}" destId="{A0D77DB6-7CA5-421A-BF15-1A416FAC291F}" srcOrd="3" destOrd="0" presId="urn:microsoft.com/office/officeart/2016/7/layout/BasicTimeline"/>
    <dgm:cxn modelId="{90E27279-3726-4DF6-85F2-70A3C0B35B52}" type="presParOf" srcId="{41D3E42B-DCA4-4E62-8C14-51D86AC8E121}" destId="{C6A83E9B-C89B-47A9-B1B7-AD165BA60528}" srcOrd="4" destOrd="0" presId="urn:microsoft.com/office/officeart/2016/7/layout/BasicTimeline"/>
    <dgm:cxn modelId="{C58CF8B6-F7A8-44A8-8914-CADD29156DD8}" type="presParOf" srcId="{9294E967-7BCB-4F4F-973C-94D01A195E96}" destId="{13B22664-EFD5-4709-A04C-0E2E9939F65A}" srcOrd="13" destOrd="0" presId="urn:microsoft.com/office/officeart/2016/7/layout/BasicTimeline"/>
    <dgm:cxn modelId="{EBAF4437-7468-42A8-A286-265A998F1E98}" type="presParOf" srcId="{9294E967-7BCB-4F4F-973C-94D01A195E96}" destId="{EB525461-A89B-4B5F-9C78-073B0BF099B9}" srcOrd="14" destOrd="0" presId="urn:microsoft.com/office/officeart/2016/7/layout/BasicTimeline"/>
    <dgm:cxn modelId="{9CD542F9-3308-40D6-AE81-C9193049CB3D}" type="presParOf" srcId="{EB525461-A89B-4B5F-9C78-073B0BF099B9}" destId="{21758050-3853-4B51-A8CC-AA46B6F191AF}" srcOrd="0" destOrd="0" presId="urn:microsoft.com/office/officeart/2016/7/layout/BasicTimeline"/>
    <dgm:cxn modelId="{8103AF8E-8C00-4962-9F2F-82EEF6D05ACC}" type="presParOf" srcId="{EB525461-A89B-4B5F-9C78-073B0BF099B9}" destId="{7D71112D-09F8-4752-91CE-0BED1B173361}" srcOrd="1" destOrd="0" presId="urn:microsoft.com/office/officeart/2016/7/layout/BasicTimeline"/>
    <dgm:cxn modelId="{7C2C4B48-F743-43D3-93E4-BD934A9AA417}" type="presParOf" srcId="{7D71112D-09F8-4752-91CE-0BED1B173361}" destId="{0EDA702C-9A43-4D92-BC99-160D8E2E05CA}" srcOrd="0" destOrd="0" presId="urn:microsoft.com/office/officeart/2016/7/layout/BasicTimeline"/>
    <dgm:cxn modelId="{0FCDB851-2D7F-431C-8666-CB89439C020E}" type="presParOf" srcId="{7D71112D-09F8-4752-91CE-0BED1B173361}" destId="{6097AAE6-EADA-4FB6-9E14-846BFEE22533}" srcOrd="1" destOrd="0" presId="urn:microsoft.com/office/officeart/2016/7/layout/BasicTimeline"/>
    <dgm:cxn modelId="{27B0B31A-4593-400C-9CA5-8BE7593FA98B}" type="presParOf" srcId="{EB525461-A89B-4B5F-9C78-073B0BF099B9}" destId="{3C09B5F8-EF97-41B8-AC43-C61C6FFF41F4}" srcOrd="2" destOrd="0" presId="urn:microsoft.com/office/officeart/2016/7/layout/BasicTimeline"/>
    <dgm:cxn modelId="{BE81BB4B-02DE-44C5-AB37-DD1EE2A146F7}" type="presParOf" srcId="{EB525461-A89B-4B5F-9C78-073B0BF099B9}" destId="{E9C38DCD-C86D-4EB3-8D17-3156989E171E}" srcOrd="3" destOrd="0" presId="urn:microsoft.com/office/officeart/2016/7/layout/BasicTimeline"/>
    <dgm:cxn modelId="{4AA7BD90-0564-4EE3-977A-BB22D0FCE01C}" type="presParOf" srcId="{EB525461-A89B-4B5F-9C78-073B0BF099B9}" destId="{C3F5EB52-5CA1-4AD9-8B7A-C5BD64FEDBA8}" srcOrd="4" destOrd="0" presId="urn:microsoft.com/office/officeart/2016/7/layout/BasicTimeline"/>
    <dgm:cxn modelId="{0ECF0FE4-D58E-49DA-BA3A-2808615526F1}" type="presParOf" srcId="{9294E967-7BCB-4F4F-973C-94D01A195E96}" destId="{670AC77E-A917-4157-B350-BF95F954A116}" srcOrd="15" destOrd="0" presId="urn:microsoft.com/office/officeart/2016/7/layout/BasicTimeline"/>
    <dgm:cxn modelId="{2BA589CD-1251-4E5B-9A65-F73AACE6D2A9}" type="presParOf" srcId="{9294E967-7BCB-4F4F-973C-94D01A195E96}" destId="{C3B9FD6C-B1DA-4D14-8A68-CD2939CE5830}" srcOrd="16" destOrd="0" presId="urn:microsoft.com/office/officeart/2016/7/layout/BasicTimeline"/>
    <dgm:cxn modelId="{07B2C629-ABF8-4192-B708-B860CEB205D4}" type="presParOf" srcId="{C3B9FD6C-B1DA-4D14-8A68-CD2939CE5830}" destId="{63B8CC74-0B1E-49F4-9390-E1AE2D668100}" srcOrd="0" destOrd="0" presId="urn:microsoft.com/office/officeart/2016/7/layout/BasicTimeline"/>
    <dgm:cxn modelId="{F19286C9-BB1E-455F-8696-C1B7F6903F01}" type="presParOf" srcId="{C3B9FD6C-B1DA-4D14-8A68-CD2939CE5830}" destId="{FD27E684-F6BF-4079-BE50-48E010463499}" srcOrd="1" destOrd="0" presId="urn:microsoft.com/office/officeart/2016/7/layout/BasicTimeline"/>
    <dgm:cxn modelId="{4898C6D5-2730-4D65-B542-66B812A6A209}" type="presParOf" srcId="{FD27E684-F6BF-4079-BE50-48E010463499}" destId="{1F3ABD65-4622-4E44-BD90-900EFFEEF88A}" srcOrd="0" destOrd="0" presId="urn:microsoft.com/office/officeart/2016/7/layout/BasicTimeline"/>
    <dgm:cxn modelId="{0D275199-FE5F-46B0-BBCE-202A84EF900D}" type="presParOf" srcId="{FD27E684-F6BF-4079-BE50-48E010463499}" destId="{13A3314F-376D-466F-99C1-789120EDBD99}" srcOrd="1" destOrd="0" presId="urn:microsoft.com/office/officeart/2016/7/layout/BasicTimeline"/>
    <dgm:cxn modelId="{7E1BB1CA-ED4C-43F7-8F7B-49035C8227CC}" type="presParOf" srcId="{C3B9FD6C-B1DA-4D14-8A68-CD2939CE5830}" destId="{A7CD277F-6C66-441B-AA21-4F7D5356B8C9}" srcOrd="2" destOrd="0" presId="urn:microsoft.com/office/officeart/2016/7/layout/BasicTimeline"/>
    <dgm:cxn modelId="{53C89944-3C63-492B-9DFC-E53D00031CE7}" type="presParOf" srcId="{C3B9FD6C-B1DA-4D14-8A68-CD2939CE5830}" destId="{A0EECB06-1F0D-4ADD-95AF-C809DF32BEC6}" srcOrd="3" destOrd="0" presId="urn:microsoft.com/office/officeart/2016/7/layout/BasicTimeline"/>
    <dgm:cxn modelId="{DE50B4F2-937F-4172-B3EB-B3ABFE6E6A1E}" type="presParOf" srcId="{C3B9FD6C-B1DA-4D14-8A68-CD2939CE5830}" destId="{E20E8862-827A-4D06-BB9F-C80398B353B6}" srcOrd="4" destOrd="0" presId="urn:microsoft.com/office/officeart/2016/7/layout/BasicTimeline"/>
    <dgm:cxn modelId="{B87891DC-5B2A-4671-A6FE-C594AFA6EB41}" type="presParOf" srcId="{9294E967-7BCB-4F4F-973C-94D01A195E96}" destId="{005E1957-C03F-43A0-84A1-95C8F17B0053}" srcOrd="17" destOrd="0" presId="urn:microsoft.com/office/officeart/2016/7/layout/BasicTimeline"/>
    <dgm:cxn modelId="{167FBAE7-D4C7-4AC2-BA9C-21EC70F34405}" type="presParOf" srcId="{9294E967-7BCB-4F4F-973C-94D01A195E96}" destId="{CC7CD36B-3C69-423E-9FC2-E1DD96A78D93}" srcOrd="18" destOrd="0" presId="urn:microsoft.com/office/officeart/2016/7/layout/BasicTimeline"/>
    <dgm:cxn modelId="{291A8F88-B54B-4644-B61E-0226350243D6}" type="presParOf" srcId="{CC7CD36B-3C69-423E-9FC2-E1DD96A78D93}" destId="{93353B55-EA56-415C-B1FD-3FDBDF9A1696}" srcOrd="0" destOrd="0" presId="urn:microsoft.com/office/officeart/2016/7/layout/BasicTimeline"/>
    <dgm:cxn modelId="{29A8EF1C-8C34-4B0A-A5D0-6804D121F2AA}" type="presParOf" srcId="{CC7CD36B-3C69-423E-9FC2-E1DD96A78D93}" destId="{5CF7C451-EF26-42B8-A368-D9B584BF37FE}" srcOrd="1" destOrd="0" presId="urn:microsoft.com/office/officeart/2016/7/layout/BasicTimeline"/>
    <dgm:cxn modelId="{3A82C1DF-1200-4CF1-9B0C-5BC11032ED60}" type="presParOf" srcId="{5CF7C451-EF26-42B8-A368-D9B584BF37FE}" destId="{D28C15F4-103E-40ED-813F-B2745FEBA480}" srcOrd="0" destOrd="0" presId="urn:microsoft.com/office/officeart/2016/7/layout/BasicTimeline"/>
    <dgm:cxn modelId="{009C64A5-44A0-4D8B-8579-E71583F481E3}" type="presParOf" srcId="{5CF7C451-EF26-42B8-A368-D9B584BF37FE}" destId="{B932ED5C-A8B9-4E93-9A50-63C85F289A0D}" srcOrd="1" destOrd="0" presId="urn:microsoft.com/office/officeart/2016/7/layout/BasicTimeline"/>
    <dgm:cxn modelId="{3BDB8B1A-2653-4AC5-B110-624EA1AE6006}" type="presParOf" srcId="{CC7CD36B-3C69-423E-9FC2-E1DD96A78D93}" destId="{0AE6A372-3F55-433C-868B-90D88B455615}" srcOrd="2" destOrd="0" presId="urn:microsoft.com/office/officeart/2016/7/layout/BasicTimeline"/>
    <dgm:cxn modelId="{A8F0F716-F8AD-4DE9-A9C2-B4B5E4E00F1A}" type="presParOf" srcId="{CC7CD36B-3C69-423E-9FC2-E1DD96A78D93}" destId="{9A4342C5-0D05-431D-9622-972BDD41A2B7}" srcOrd="3" destOrd="0" presId="urn:microsoft.com/office/officeart/2016/7/layout/BasicTimeline"/>
    <dgm:cxn modelId="{F6C074FB-70E9-4E5A-A48B-157AC6A7FBC9}" type="presParOf" srcId="{CC7CD36B-3C69-423E-9FC2-E1DD96A78D93}" destId="{C399EC80-335A-4AA5-A7AF-1F1B653D3A8E}" srcOrd="4" destOrd="0" presId="urn:microsoft.com/office/officeart/2016/7/layout/BasicTimeline"/>
    <dgm:cxn modelId="{354A8592-3088-4858-B509-8C10616D3398}" type="presParOf" srcId="{9294E967-7BCB-4F4F-973C-94D01A195E96}" destId="{6E7BD4FF-A379-4492-B720-16302114C0C8}" srcOrd="19" destOrd="0" presId="urn:microsoft.com/office/officeart/2016/7/layout/BasicTimeline"/>
    <dgm:cxn modelId="{07104805-3230-41EC-BFB3-CBC7C8AC96DC}" type="presParOf" srcId="{9294E967-7BCB-4F4F-973C-94D01A195E96}" destId="{2ABD7046-07E0-47CC-92A8-E4505388C1BB}" srcOrd="20" destOrd="0" presId="urn:microsoft.com/office/officeart/2016/7/layout/BasicTimeline"/>
    <dgm:cxn modelId="{2593FF71-FC54-489C-9E04-B5E7D05CCC35}" type="presParOf" srcId="{2ABD7046-07E0-47CC-92A8-E4505388C1BB}" destId="{1E0105D9-BFA2-4FBC-B676-3A5B532286CA}" srcOrd="0" destOrd="0" presId="urn:microsoft.com/office/officeart/2016/7/layout/BasicTimeline"/>
    <dgm:cxn modelId="{C46D02B7-59EA-4AB2-B127-C5343CADDA82}" type="presParOf" srcId="{2ABD7046-07E0-47CC-92A8-E4505388C1BB}" destId="{E0F4BF8E-CFEA-48CD-B9DA-2E3BDEFF57D6}" srcOrd="1" destOrd="0" presId="urn:microsoft.com/office/officeart/2016/7/layout/BasicTimeline"/>
    <dgm:cxn modelId="{55E46FAF-0A71-4518-AF81-2675D5DB4773}" type="presParOf" srcId="{E0F4BF8E-CFEA-48CD-B9DA-2E3BDEFF57D6}" destId="{5D63734E-B461-42CD-89EA-6193551377B9}" srcOrd="0" destOrd="0" presId="urn:microsoft.com/office/officeart/2016/7/layout/BasicTimeline"/>
    <dgm:cxn modelId="{31F9C864-49A8-49C0-9A33-83D36693097D}" type="presParOf" srcId="{E0F4BF8E-CFEA-48CD-B9DA-2E3BDEFF57D6}" destId="{936BAB60-D060-49D1-91B2-3F65BC3C703C}" srcOrd="1" destOrd="0" presId="urn:microsoft.com/office/officeart/2016/7/layout/BasicTimeline"/>
    <dgm:cxn modelId="{E02677DC-520F-4A51-8D4F-844A8DE6E667}" type="presParOf" srcId="{2ABD7046-07E0-47CC-92A8-E4505388C1BB}" destId="{F2BA1CF7-01E0-4E18-89C6-9B0F449AC81E}" srcOrd="2" destOrd="0" presId="urn:microsoft.com/office/officeart/2016/7/layout/BasicTimeline"/>
    <dgm:cxn modelId="{98A03FB5-12B2-412C-87EF-29A0D1153B94}" type="presParOf" srcId="{2ABD7046-07E0-47CC-92A8-E4505388C1BB}" destId="{99B99E64-2887-46D1-BD1C-3C2F3078BDB7}" srcOrd="3" destOrd="0" presId="urn:microsoft.com/office/officeart/2016/7/layout/BasicTimeline"/>
    <dgm:cxn modelId="{CA22F1D1-2434-4EDB-903E-13D753A2E215}" type="presParOf" srcId="{2ABD7046-07E0-47CC-92A8-E4505388C1BB}" destId="{814967E0-A12B-415E-A6F7-2B48F839E30E}" srcOrd="4" destOrd="0" presId="urn:microsoft.com/office/officeart/2016/7/layout/BasicTimeline"/>
    <dgm:cxn modelId="{9C007EFA-772C-483F-9C23-3115C693A7A2}" type="presParOf" srcId="{9294E967-7BCB-4F4F-973C-94D01A195E96}" destId="{59201410-404D-48C5-B3CA-9C79A63E81BB}" srcOrd="21" destOrd="0" presId="urn:microsoft.com/office/officeart/2016/7/layout/BasicTimeline"/>
    <dgm:cxn modelId="{549D78E2-9BFD-4F7D-BAA5-AE593564565E}" type="presParOf" srcId="{9294E967-7BCB-4F4F-973C-94D01A195E96}" destId="{7121D018-BE8E-4CAA-832C-762E733C7ADC}" srcOrd="22" destOrd="0" presId="urn:microsoft.com/office/officeart/2016/7/layout/BasicTimeline"/>
    <dgm:cxn modelId="{2807C76D-161D-4FF8-B770-E72DE208402F}" type="presParOf" srcId="{7121D018-BE8E-4CAA-832C-762E733C7ADC}" destId="{1C07980A-01AD-4375-B30D-3B9566D433DF}" srcOrd="0" destOrd="0" presId="urn:microsoft.com/office/officeart/2016/7/layout/BasicTimeline"/>
    <dgm:cxn modelId="{08E9AA58-DFDA-47C8-8695-5FAA63ECDEE7}" type="presParOf" srcId="{7121D018-BE8E-4CAA-832C-762E733C7ADC}" destId="{CC4EF2E9-F397-4013-B2F6-2345269AC078}" srcOrd="1" destOrd="0" presId="urn:microsoft.com/office/officeart/2016/7/layout/BasicTimeline"/>
    <dgm:cxn modelId="{828476F8-B3DD-4018-89EB-E9EE6F4E1AC4}" type="presParOf" srcId="{CC4EF2E9-F397-4013-B2F6-2345269AC078}" destId="{86434443-72B6-4206-886D-95F8399164A7}" srcOrd="0" destOrd="0" presId="urn:microsoft.com/office/officeart/2016/7/layout/BasicTimeline"/>
    <dgm:cxn modelId="{53F70C15-6B77-42C5-A16C-9CB8E86F4C75}" type="presParOf" srcId="{CC4EF2E9-F397-4013-B2F6-2345269AC078}" destId="{D5CD6FFA-F4BB-48CD-B569-31DEF5864C56}" srcOrd="1" destOrd="0" presId="urn:microsoft.com/office/officeart/2016/7/layout/BasicTimeline"/>
    <dgm:cxn modelId="{CE2DE8AC-BC95-4AF8-8B35-A997BEC7C2C0}" type="presParOf" srcId="{7121D018-BE8E-4CAA-832C-762E733C7ADC}" destId="{74E4F1A9-3E3C-456E-BBF8-179FFF93E992}" srcOrd="2" destOrd="0" presId="urn:microsoft.com/office/officeart/2016/7/layout/BasicTimeline"/>
    <dgm:cxn modelId="{7F33AFD4-9DD5-48F3-8DEE-9064ED3751B2}" type="presParOf" srcId="{7121D018-BE8E-4CAA-832C-762E733C7ADC}" destId="{5B549C08-ECB7-4CFC-A74B-E00465610BF3}" srcOrd="3" destOrd="0" presId="urn:microsoft.com/office/officeart/2016/7/layout/BasicTimeline"/>
    <dgm:cxn modelId="{26362EC7-1E93-4687-8257-2B025610E92D}" type="presParOf" srcId="{7121D018-BE8E-4CAA-832C-762E733C7ADC}" destId="{166600F5-97E4-4B91-AB6A-05D51EF32FE9}" srcOrd="4" destOrd="0" presId="urn:microsoft.com/office/officeart/2016/7/layout/BasicTimeline"/>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75F5234-98AA-4FF0-AB0F-BBA565693BCB}" type="doc">
      <dgm:prSet loTypeId="urn:microsoft.com/office/officeart/2018/5/layout/CenteredIconLabelDescriptionList" loCatId="icon" qsTypeId="urn:microsoft.com/office/officeart/2005/8/quickstyle/simple1" qsCatId="simple" csTypeId="urn:microsoft.com/office/officeart/2018/5/colors/Iconchunking_neutralbg_colorful1" csCatId="colorful" phldr="1"/>
      <dgm:spPr/>
      <dgm:t>
        <a:bodyPr/>
        <a:lstStyle/>
        <a:p>
          <a:endParaRPr lang="en-US"/>
        </a:p>
      </dgm:t>
    </dgm:pt>
    <dgm:pt modelId="{50440638-C908-4372-BACB-5E66C70EEF6A}">
      <dgm:prSet/>
      <dgm:spPr/>
      <dgm:t>
        <a:bodyPr/>
        <a:lstStyle/>
        <a:p>
          <a:pPr>
            <a:defRPr b="1"/>
          </a:pPr>
          <a:r>
            <a:rPr lang="en-US"/>
            <a:t>Career Technical Planning Districts</a:t>
          </a:r>
        </a:p>
      </dgm:t>
    </dgm:pt>
    <dgm:pt modelId="{CA8494B7-D64A-429E-9FA7-E99031C4BB82}" type="parTrans" cxnId="{EF821A76-61B2-4CE7-8908-A1AE9D8DAC2F}">
      <dgm:prSet/>
      <dgm:spPr/>
      <dgm:t>
        <a:bodyPr/>
        <a:lstStyle/>
        <a:p>
          <a:endParaRPr lang="en-US"/>
        </a:p>
      </dgm:t>
    </dgm:pt>
    <dgm:pt modelId="{850B80F8-F32D-47C4-A406-C27E51E6F16B}" type="sibTrans" cxnId="{EF821A76-61B2-4CE7-8908-A1AE9D8DAC2F}">
      <dgm:prSet/>
      <dgm:spPr/>
      <dgm:t>
        <a:bodyPr/>
        <a:lstStyle/>
        <a:p>
          <a:endParaRPr lang="en-US"/>
        </a:p>
      </dgm:t>
    </dgm:pt>
    <dgm:pt modelId="{82FE28B1-872F-4DEF-A860-576D6235BB57}">
      <dgm:prSet/>
      <dgm:spPr/>
      <dgm:t>
        <a:bodyPr/>
        <a:lstStyle/>
        <a:p>
          <a:r>
            <a:rPr lang="en-US"/>
            <a:t>Geographically arranged across the state</a:t>
          </a:r>
        </a:p>
      </dgm:t>
    </dgm:pt>
    <dgm:pt modelId="{EBF42887-4AA8-45ED-A7DA-EA0245EA257A}" type="parTrans" cxnId="{14EE0016-0AF6-4BBA-96AB-122BF718BA98}">
      <dgm:prSet/>
      <dgm:spPr/>
      <dgm:t>
        <a:bodyPr/>
        <a:lstStyle/>
        <a:p>
          <a:endParaRPr lang="en-US"/>
        </a:p>
      </dgm:t>
    </dgm:pt>
    <dgm:pt modelId="{1188F5F2-0B2D-4B2B-A7A9-545A07BB4E23}" type="sibTrans" cxnId="{14EE0016-0AF6-4BBA-96AB-122BF718BA98}">
      <dgm:prSet/>
      <dgm:spPr/>
      <dgm:t>
        <a:bodyPr/>
        <a:lstStyle/>
        <a:p>
          <a:endParaRPr lang="en-US"/>
        </a:p>
      </dgm:t>
    </dgm:pt>
    <dgm:pt modelId="{94942F54-72F7-49C6-AA7B-02FF347E96F1}">
      <dgm:prSet/>
      <dgm:spPr/>
      <dgm:t>
        <a:bodyPr/>
        <a:lstStyle/>
        <a:p>
          <a:pPr>
            <a:defRPr b="1"/>
          </a:pPr>
          <a:r>
            <a:rPr lang="en-US"/>
            <a:t>Three Delivery Models</a:t>
          </a:r>
        </a:p>
      </dgm:t>
    </dgm:pt>
    <dgm:pt modelId="{81B968CA-4DAC-48C2-B431-1F072FB7B2A5}" type="parTrans" cxnId="{E3DBC45F-D6F6-4E84-A037-59A275D88E3C}">
      <dgm:prSet/>
      <dgm:spPr/>
      <dgm:t>
        <a:bodyPr/>
        <a:lstStyle/>
        <a:p>
          <a:endParaRPr lang="en-US"/>
        </a:p>
      </dgm:t>
    </dgm:pt>
    <dgm:pt modelId="{7CE92B4B-8619-407E-819F-DB22F1F5D9E4}" type="sibTrans" cxnId="{E3DBC45F-D6F6-4E84-A037-59A275D88E3C}">
      <dgm:prSet/>
      <dgm:spPr/>
      <dgm:t>
        <a:bodyPr/>
        <a:lstStyle/>
        <a:p>
          <a:endParaRPr lang="en-US"/>
        </a:p>
      </dgm:t>
    </dgm:pt>
    <dgm:pt modelId="{F1A40771-C1BC-488D-AB23-4118D2A4D918}">
      <dgm:prSet/>
      <dgm:spPr/>
      <dgm:t>
        <a:bodyPr/>
        <a:lstStyle/>
        <a:p>
          <a:r>
            <a:rPr lang="en-US"/>
            <a:t>Joint Vocational School Districts (JVSD)</a:t>
          </a:r>
        </a:p>
      </dgm:t>
    </dgm:pt>
    <dgm:pt modelId="{EE03175B-CD8D-4D4E-9F28-848AD177B096}" type="parTrans" cxnId="{6C52771F-C3B9-4C0A-ADA6-FEF43E2B1B63}">
      <dgm:prSet/>
      <dgm:spPr/>
      <dgm:t>
        <a:bodyPr/>
        <a:lstStyle/>
        <a:p>
          <a:endParaRPr lang="en-US"/>
        </a:p>
      </dgm:t>
    </dgm:pt>
    <dgm:pt modelId="{68E3FF9F-179F-4A6A-8356-0242F054E61E}" type="sibTrans" cxnId="{6C52771F-C3B9-4C0A-ADA6-FEF43E2B1B63}">
      <dgm:prSet/>
      <dgm:spPr/>
      <dgm:t>
        <a:bodyPr/>
        <a:lstStyle/>
        <a:p>
          <a:endParaRPr lang="en-US"/>
        </a:p>
      </dgm:t>
    </dgm:pt>
    <dgm:pt modelId="{4727AEE0-FBB0-457C-855B-0AEB3F0003BC}">
      <dgm:prSet/>
      <dgm:spPr/>
      <dgm:t>
        <a:bodyPr/>
        <a:lstStyle/>
        <a:p>
          <a:r>
            <a:rPr lang="en-US"/>
            <a:t>Compacts</a:t>
          </a:r>
        </a:p>
      </dgm:t>
    </dgm:pt>
    <dgm:pt modelId="{D5443E45-D7BA-4E1B-B645-2DAF20FAEF6C}" type="parTrans" cxnId="{506BF88C-0A2F-43FD-8DB2-3855A7D84630}">
      <dgm:prSet/>
      <dgm:spPr/>
      <dgm:t>
        <a:bodyPr/>
        <a:lstStyle/>
        <a:p>
          <a:endParaRPr lang="en-US"/>
        </a:p>
      </dgm:t>
    </dgm:pt>
    <dgm:pt modelId="{BF43CF8E-E324-4F63-A330-7FA2DD82834F}" type="sibTrans" cxnId="{506BF88C-0A2F-43FD-8DB2-3855A7D84630}">
      <dgm:prSet/>
      <dgm:spPr/>
      <dgm:t>
        <a:bodyPr/>
        <a:lstStyle/>
        <a:p>
          <a:endParaRPr lang="en-US"/>
        </a:p>
      </dgm:t>
    </dgm:pt>
    <dgm:pt modelId="{F1E2B43B-C36D-409F-A873-EEA2E3C681F9}">
      <dgm:prSet/>
      <dgm:spPr/>
      <dgm:t>
        <a:bodyPr/>
        <a:lstStyle/>
        <a:p>
          <a:r>
            <a:rPr lang="en-US"/>
            <a:t>Comprehensives</a:t>
          </a:r>
        </a:p>
      </dgm:t>
    </dgm:pt>
    <dgm:pt modelId="{6D9A9349-16D1-49A3-AA25-681C5ED37C7F}" type="parTrans" cxnId="{CD56F51D-B5EB-4595-9F5E-FD5BE338CC46}">
      <dgm:prSet/>
      <dgm:spPr/>
      <dgm:t>
        <a:bodyPr/>
        <a:lstStyle/>
        <a:p>
          <a:endParaRPr lang="en-US"/>
        </a:p>
      </dgm:t>
    </dgm:pt>
    <dgm:pt modelId="{AA79A964-9F4D-402A-805D-7337ECA4438B}" type="sibTrans" cxnId="{CD56F51D-B5EB-4595-9F5E-FD5BE338CC46}">
      <dgm:prSet/>
      <dgm:spPr/>
      <dgm:t>
        <a:bodyPr/>
        <a:lstStyle/>
        <a:p>
          <a:endParaRPr lang="en-US"/>
        </a:p>
      </dgm:t>
    </dgm:pt>
    <dgm:pt modelId="{F39D2511-12BD-4D9B-A2D4-708266F21ECA}">
      <dgm:prSet/>
      <dgm:spPr/>
      <dgm:t>
        <a:bodyPr/>
        <a:lstStyle/>
        <a:p>
          <a:pPr>
            <a:defRPr b="1"/>
          </a:pPr>
          <a:r>
            <a:rPr lang="en-US"/>
            <a:t>Ohio Technical Centers</a:t>
          </a:r>
        </a:p>
      </dgm:t>
    </dgm:pt>
    <dgm:pt modelId="{DFD18666-1E6C-4DBE-B3C2-106C34A750FB}" type="parTrans" cxnId="{0FC85E01-1B06-4929-865C-999E3F92C29F}">
      <dgm:prSet/>
      <dgm:spPr/>
      <dgm:t>
        <a:bodyPr/>
        <a:lstStyle/>
        <a:p>
          <a:endParaRPr lang="en-US"/>
        </a:p>
      </dgm:t>
    </dgm:pt>
    <dgm:pt modelId="{9E063479-9ADD-4E88-933A-AE635EC77A6B}" type="sibTrans" cxnId="{0FC85E01-1B06-4929-865C-999E3F92C29F}">
      <dgm:prSet/>
      <dgm:spPr/>
      <dgm:t>
        <a:bodyPr/>
        <a:lstStyle/>
        <a:p>
          <a:endParaRPr lang="en-US"/>
        </a:p>
      </dgm:t>
    </dgm:pt>
    <dgm:pt modelId="{01C42356-A908-4A15-ADA8-15C13A793946}" type="pres">
      <dgm:prSet presAssocID="{D75F5234-98AA-4FF0-AB0F-BBA565693BCB}" presName="root" presStyleCnt="0">
        <dgm:presLayoutVars>
          <dgm:dir/>
          <dgm:resizeHandles val="exact"/>
        </dgm:presLayoutVars>
      </dgm:prSet>
      <dgm:spPr/>
    </dgm:pt>
    <dgm:pt modelId="{2AD6D629-D71D-4A2E-92A3-B5AFA8449558}" type="pres">
      <dgm:prSet presAssocID="{50440638-C908-4372-BACB-5E66C70EEF6A}" presName="compNode" presStyleCnt="0"/>
      <dgm:spPr/>
    </dgm:pt>
    <dgm:pt modelId="{7BC84F0C-F1D2-42F3-9B97-BA024863C3BC}" type="pres">
      <dgm:prSet presAssocID="{50440638-C908-4372-BACB-5E66C70EEF6A}"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arker"/>
        </a:ext>
      </dgm:extLst>
    </dgm:pt>
    <dgm:pt modelId="{CB60ABBF-8E09-457D-8806-4E3F1AC93327}" type="pres">
      <dgm:prSet presAssocID="{50440638-C908-4372-BACB-5E66C70EEF6A}" presName="iconSpace" presStyleCnt="0"/>
      <dgm:spPr/>
    </dgm:pt>
    <dgm:pt modelId="{99D0C398-2A26-4542-8D85-FEC937274081}" type="pres">
      <dgm:prSet presAssocID="{50440638-C908-4372-BACB-5E66C70EEF6A}" presName="parTx" presStyleLbl="revTx" presStyleIdx="0" presStyleCnt="6">
        <dgm:presLayoutVars>
          <dgm:chMax val="0"/>
          <dgm:chPref val="0"/>
        </dgm:presLayoutVars>
      </dgm:prSet>
      <dgm:spPr/>
    </dgm:pt>
    <dgm:pt modelId="{EBD390CF-EB64-4CE1-9A0B-99C50A8AD47F}" type="pres">
      <dgm:prSet presAssocID="{50440638-C908-4372-BACB-5E66C70EEF6A}" presName="txSpace" presStyleCnt="0"/>
      <dgm:spPr/>
    </dgm:pt>
    <dgm:pt modelId="{2472E95F-2DDA-49E5-9F72-C6C64C51A8DF}" type="pres">
      <dgm:prSet presAssocID="{50440638-C908-4372-BACB-5E66C70EEF6A}" presName="desTx" presStyleLbl="revTx" presStyleIdx="1" presStyleCnt="6">
        <dgm:presLayoutVars/>
      </dgm:prSet>
      <dgm:spPr/>
    </dgm:pt>
    <dgm:pt modelId="{B4F932B8-CE4F-43F4-AE99-A5F36A8DA80C}" type="pres">
      <dgm:prSet presAssocID="{850B80F8-F32D-47C4-A406-C27E51E6F16B}" presName="sibTrans" presStyleCnt="0"/>
      <dgm:spPr/>
    </dgm:pt>
    <dgm:pt modelId="{621C0463-B4E6-4225-A468-4CDD1AD1BF39}" type="pres">
      <dgm:prSet presAssocID="{94942F54-72F7-49C6-AA7B-02FF347E96F1}" presName="compNode" presStyleCnt="0"/>
      <dgm:spPr/>
    </dgm:pt>
    <dgm:pt modelId="{40A79833-C9D3-45BB-8817-FDD6F54F2C6F}" type="pres">
      <dgm:prSet presAssocID="{94942F54-72F7-49C6-AA7B-02FF347E96F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choolhouse"/>
        </a:ext>
      </dgm:extLst>
    </dgm:pt>
    <dgm:pt modelId="{536E0174-3229-422E-BE12-2EBEB732D834}" type="pres">
      <dgm:prSet presAssocID="{94942F54-72F7-49C6-AA7B-02FF347E96F1}" presName="iconSpace" presStyleCnt="0"/>
      <dgm:spPr/>
    </dgm:pt>
    <dgm:pt modelId="{6938A52C-88DC-4F10-96EA-7DCCD43A08BB}" type="pres">
      <dgm:prSet presAssocID="{94942F54-72F7-49C6-AA7B-02FF347E96F1}" presName="parTx" presStyleLbl="revTx" presStyleIdx="2" presStyleCnt="6">
        <dgm:presLayoutVars>
          <dgm:chMax val="0"/>
          <dgm:chPref val="0"/>
        </dgm:presLayoutVars>
      </dgm:prSet>
      <dgm:spPr/>
    </dgm:pt>
    <dgm:pt modelId="{6CB08E55-8AEC-4DFE-BD34-CF31061528F2}" type="pres">
      <dgm:prSet presAssocID="{94942F54-72F7-49C6-AA7B-02FF347E96F1}" presName="txSpace" presStyleCnt="0"/>
      <dgm:spPr/>
    </dgm:pt>
    <dgm:pt modelId="{9604F094-8865-424E-8AEC-9215D9D4828D}" type="pres">
      <dgm:prSet presAssocID="{94942F54-72F7-49C6-AA7B-02FF347E96F1}" presName="desTx" presStyleLbl="revTx" presStyleIdx="3" presStyleCnt="6">
        <dgm:presLayoutVars/>
      </dgm:prSet>
      <dgm:spPr/>
    </dgm:pt>
    <dgm:pt modelId="{396E2CD7-EDB5-4710-95C5-2B42A98A201C}" type="pres">
      <dgm:prSet presAssocID="{7CE92B4B-8619-407E-819F-DB22F1F5D9E4}" presName="sibTrans" presStyleCnt="0"/>
      <dgm:spPr/>
    </dgm:pt>
    <dgm:pt modelId="{C5CA9236-2A0C-4751-9133-C794671B1EC6}" type="pres">
      <dgm:prSet presAssocID="{F39D2511-12BD-4D9B-A2D4-708266F21ECA}" presName="compNode" presStyleCnt="0"/>
      <dgm:spPr/>
    </dgm:pt>
    <dgm:pt modelId="{90EB72A0-EEEB-489A-9966-401A3C5DC830}" type="pres">
      <dgm:prSet presAssocID="{F39D2511-12BD-4D9B-A2D4-708266F21EC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ity"/>
        </a:ext>
      </dgm:extLst>
    </dgm:pt>
    <dgm:pt modelId="{9F1BB0C1-31DB-47B6-BADF-CF8B48373700}" type="pres">
      <dgm:prSet presAssocID="{F39D2511-12BD-4D9B-A2D4-708266F21ECA}" presName="iconSpace" presStyleCnt="0"/>
      <dgm:spPr/>
    </dgm:pt>
    <dgm:pt modelId="{8E3FBFBA-33B6-4620-8EF2-EBB17D02AAF7}" type="pres">
      <dgm:prSet presAssocID="{F39D2511-12BD-4D9B-A2D4-708266F21ECA}" presName="parTx" presStyleLbl="revTx" presStyleIdx="4" presStyleCnt="6">
        <dgm:presLayoutVars>
          <dgm:chMax val="0"/>
          <dgm:chPref val="0"/>
        </dgm:presLayoutVars>
      </dgm:prSet>
      <dgm:spPr/>
    </dgm:pt>
    <dgm:pt modelId="{DA191744-A72A-4F8D-BAD2-C02944E04E9D}" type="pres">
      <dgm:prSet presAssocID="{F39D2511-12BD-4D9B-A2D4-708266F21ECA}" presName="txSpace" presStyleCnt="0"/>
      <dgm:spPr/>
    </dgm:pt>
    <dgm:pt modelId="{079B8287-AB5D-4B93-97AB-0DECB445397E}" type="pres">
      <dgm:prSet presAssocID="{F39D2511-12BD-4D9B-A2D4-708266F21ECA}" presName="desTx" presStyleLbl="revTx" presStyleIdx="5" presStyleCnt="6">
        <dgm:presLayoutVars/>
      </dgm:prSet>
      <dgm:spPr/>
    </dgm:pt>
  </dgm:ptLst>
  <dgm:cxnLst>
    <dgm:cxn modelId="{0FC85E01-1B06-4929-865C-999E3F92C29F}" srcId="{D75F5234-98AA-4FF0-AB0F-BBA565693BCB}" destId="{F39D2511-12BD-4D9B-A2D4-708266F21ECA}" srcOrd="2" destOrd="0" parTransId="{DFD18666-1E6C-4DBE-B3C2-106C34A750FB}" sibTransId="{9E063479-9ADD-4E88-933A-AE635EC77A6B}"/>
    <dgm:cxn modelId="{14EE0016-0AF6-4BBA-96AB-122BF718BA98}" srcId="{50440638-C908-4372-BACB-5E66C70EEF6A}" destId="{82FE28B1-872F-4DEF-A860-576D6235BB57}" srcOrd="0" destOrd="0" parTransId="{EBF42887-4AA8-45ED-A7DA-EA0245EA257A}" sibTransId="{1188F5F2-0B2D-4B2B-A7A9-545A07BB4E23}"/>
    <dgm:cxn modelId="{A1BE2717-CBA2-4D2D-9A52-FD1893BF3885}" type="presOf" srcId="{50440638-C908-4372-BACB-5E66C70EEF6A}" destId="{99D0C398-2A26-4542-8D85-FEC937274081}" srcOrd="0" destOrd="0" presId="urn:microsoft.com/office/officeart/2018/5/layout/CenteredIconLabelDescriptionList"/>
    <dgm:cxn modelId="{CD56F51D-B5EB-4595-9F5E-FD5BE338CC46}" srcId="{94942F54-72F7-49C6-AA7B-02FF347E96F1}" destId="{F1E2B43B-C36D-409F-A873-EEA2E3C681F9}" srcOrd="2" destOrd="0" parTransId="{6D9A9349-16D1-49A3-AA25-681C5ED37C7F}" sibTransId="{AA79A964-9F4D-402A-805D-7337ECA4438B}"/>
    <dgm:cxn modelId="{6C52771F-C3B9-4C0A-ADA6-FEF43E2B1B63}" srcId="{94942F54-72F7-49C6-AA7B-02FF347E96F1}" destId="{F1A40771-C1BC-488D-AB23-4118D2A4D918}" srcOrd="0" destOrd="0" parTransId="{EE03175B-CD8D-4D4E-9F28-848AD177B096}" sibTransId="{68E3FF9F-179F-4A6A-8356-0242F054E61E}"/>
    <dgm:cxn modelId="{E3DBC45F-D6F6-4E84-A037-59A275D88E3C}" srcId="{D75F5234-98AA-4FF0-AB0F-BBA565693BCB}" destId="{94942F54-72F7-49C6-AA7B-02FF347E96F1}" srcOrd="1" destOrd="0" parTransId="{81B968CA-4DAC-48C2-B431-1F072FB7B2A5}" sibTransId="{7CE92B4B-8619-407E-819F-DB22F1F5D9E4}"/>
    <dgm:cxn modelId="{EF821A76-61B2-4CE7-8908-A1AE9D8DAC2F}" srcId="{D75F5234-98AA-4FF0-AB0F-BBA565693BCB}" destId="{50440638-C908-4372-BACB-5E66C70EEF6A}" srcOrd="0" destOrd="0" parTransId="{CA8494B7-D64A-429E-9FA7-E99031C4BB82}" sibTransId="{850B80F8-F32D-47C4-A406-C27E51E6F16B}"/>
    <dgm:cxn modelId="{1913FE57-652D-42B1-ADE7-3357D6AB3A4F}" type="presOf" srcId="{4727AEE0-FBB0-457C-855B-0AEB3F0003BC}" destId="{9604F094-8865-424E-8AEC-9215D9D4828D}" srcOrd="0" destOrd="1" presId="urn:microsoft.com/office/officeart/2018/5/layout/CenteredIconLabelDescriptionList"/>
    <dgm:cxn modelId="{0978DD87-CDBD-4925-AD89-0701598B1A74}" type="presOf" srcId="{D75F5234-98AA-4FF0-AB0F-BBA565693BCB}" destId="{01C42356-A908-4A15-ADA8-15C13A793946}" srcOrd="0" destOrd="0" presId="urn:microsoft.com/office/officeart/2018/5/layout/CenteredIconLabelDescriptionList"/>
    <dgm:cxn modelId="{506BF88C-0A2F-43FD-8DB2-3855A7D84630}" srcId="{94942F54-72F7-49C6-AA7B-02FF347E96F1}" destId="{4727AEE0-FBB0-457C-855B-0AEB3F0003BC}" srcOrd="1" destOrd="0" parTransId="{D5443E45-D7BA-4E1B-B645-2DAF20FAEF6C}" sibTransId="{BF43CF8E-E324-4F63-A330-7FA2DD82834F}"/>
    <dgm:cxn modelId="{5C80589F-78E8-4421-B9EF-011166DA36E6}" type="presOf" srcId="{94942F54-72F7-49C6-AA7B-02FF347E96F1}" destId="{6938A52C-88DC-4F10-96EA-7DCCD43A08BB}" srcOrd="0" destOrd="0" presId="urn:microsoft.com/office/officeart/2018/5/layout/CenteredIconLabelDescriptionList"/>
    <dgm:cxn modelId="{E76FCFB1-0D3E-4041-A667-D5C37CC950BD}" type="presOf" srcId="{82FE28B1-872F-4DEF-A860-576D6235BB57}" destId="{2472E95F-2DDA-49E5-9F72-C6C64C51A8DF}" srcOrd="0" destOrd="0" presId="urn:microsoft.com/office/officeart/2018/5/layout/CenteredIconLabelDescriptionList"/>
    <dgm:cxn modelId="{41B9C5D5-D777-4406-AF11-FC1D104A2790}" type="presOf" srcId="{F1A40771-C1BC-488D-AB23-4118D2A4D918}" destId="{9604F094-8865-424E-8AEC-9215D9D4828D}" srcOrd="0" destOrd="0" presId="urn:microsoft.com/office/officeart/2018/5/layout/CenteredIconLabelDescriptionList"/>
    <dgm:cxn modelId="{40A236EF-90C2-4E44-ADB4-0F6E81F4791A}" type="presOf" srcId="{F39D2511-12BD-4D9B-A2D4-708266F21ECA}" destId="{8E3FBFBA-33B6-4620-8EF2-EBB17D02AAF7}" srcOrd="0" destOrd="0" presId="urn:microsoft.com/office/officeart/2018/5/layout/CenteredIconLabelDescriptionList"/>
    <dgm:cxn modelId="{282F34F4-DD0D-4A6B-ACB6-90BA2934397E}" type="presOf" srcId="{F1E2B43B-C36D-409F-A873-EEA2E3C681F9}" destId="{9604F094-8865-424E-8AEC-9215D9D4828D}" srcOrd="0" destOrd="2" presId="urn:microsoft.com/office/officeart/2018/5/layout/CenteredIconLabelDescriptionList"/>
    <dgm:cxn modelId="{ECBD8E94-DC63-4E5E-A2FF-0B36FA168C58}" type="presParOf" srcId="{01C42356-A908-4A15-ADA8-15C13A793946}" destId="{2AD6D629-D71D-4A2E-92A3-B5AFA8449558}" srcOrd="0" destOrd="0" presId="urn:microsoft.com/office/officeart/2018/5/layout/CenteredIconLabelDescriptionList"/>
    <dgm:cxn modelId="{EBB89B9B-C70A-4CBB-8EAF-3542DF9ED698}" type="presParOf" srcId="{2AD6D629-D71D-4A2E-92A3-B5AFA8449558}" destId="{7BC84F0C-F1D2-42F3-9B97-BA024863C3BC}" srcOrd="0" destOrd="0" presId="urn:microsoft.com/office/officeart/2018/5/layout/CenteredIconLabelDescriptionList"/>
    <dgm:cxn modelId="{A532B058-F626-4F2C-8BAF-B2D4DEBD3BE8}" type="presParOf" srcId="{2AD6D629-D71D-4A2E-92A3-B5AFA8449558}" destId="{CB60ABBF-8E09-457D-8806-4E3F1AC93327}" srcOrd="1" destOrd="0" presId="urn:microsoft.com/office/officeart/2018/5/layout/CenteredIconLabelDescriptionList"/>
    <dgm:cxn modelId="{586CE374-E43D-4D27-8AB1-8241813621B4}" type="presParOf" srcId="{2AD6D629-D71D-4A2E-92A3-B5AFA8449558}" destId="{99D0C398-2A26-4542-8D85-FEC937274081}" srcOrd="2" destOrd="0" presId="urn:microsoft.com/office/officeart/2018/5/layout/CenteredIconLabelDescriptionList"/>
    <dgm:cxn modelId="{E3EB7176-39DB-4D44-919D-3288B5C55CFC}" type="presParOf" srcId="{2AD6D629-D71D-4A2E-92A3-B5AFA8449558}" destId="{EBD390CF-EB64-4CE1-9A0B-99C50A8AD47F}" srcOrd="3" destOrd="0" presId="urn:microsoft.com/office/officeart/2018/5/layout/CenteredIconLabelDescriptionList"/>
    <dgm:cxn modelId="{832D254E-99AC-48CA-9575-2F56C2D4EDB3}" type="presParOf" srcId="{2AD6D629-D71D-4A2E-92A3-B5AFA8449558}" destId="{2472E95F-2DDA-49E5-9F72-C6C64C51A8DF}" srcOrd="4" destOrd="0" presId="urn:microsoft.com/office/officeart/2018/5/layout/CenteredIconLabelDescriptionList"/>
    <dgm:cxn modelId="{5B64FE93-020B-4D24-A10C-1A27A12EB817}" type="presParOf" srcId="{01C42356-A908-4A15-ADA8-15C13A793946}" destId="{B4F932B8-CE4F-43F4-AE99-A5F36A8DA80C}" srcOrd="1" destOrd="0" presId="urn:microsoft.com/office/officeart/2018/5/layout/CenteredIconLabelDescriptionList"/>
    <dgm:cxn modelId="{3E391747-A76C-4DB4-B5FF-46AB9217131E}" type="presParOf" srcId="{01C42356-A908-4A15-ADA8-15C13A793946}" destId="{621C0463-B4E6-4225-A468-4CDD1AD1BF39}" srcOrd="2" destOrd="0" presId="urn:microsoft.com/office/officeart/2018/5/layout/CenteredIconLabelDescriptionList"/>
    <dgm:cxn modelId="{08DAE158-49B7-4F48-8580-69F32ADD2BB9}" type="presParOf" srcId="{621C0463-B4E6-4225-A468-4CDD1AD1BF39}" destId="{40A79833-C9D3-45BB-8817-FDD6F54F2C6F}" srcOrd="0" destOrd="0" presId="urn:microsoft.com/office/officeart/2018/5/layout/CenteredIconLabelDescriptionList"/>
    <dgm:cxn modelId="{057B661F-00E1-45D0-BB75-4A494C7E13AD}" type="presParOf" srcId="{621C0463-B4E6-4225-A468-4CDD1AD1BF39}" destId="{536E0174-3229-422E-BE12-2EBEB732D834}" srcOrd="1" destOrd="0" presId="urn:microsoft.com/office/officeart/2018/5/layout/CenteredIconLabelDescriptionList"/>
    <dgm:cxn modelId="{39328137-F472-4869-A829-71208055272D}" type="presParOf" srcId="{621C0463-B4E6-4225-A468-4CDD1AD1BF39}" destId="{6938A52C-88DC-4F10-96EA-7DCCD43A08BB}" srcOrd="2" destOrd="0" presId="urn:microsoft.com/office/officeart/2018/5/layout/CenteredIconLabelDescriptionList"/>
    <dgm:cxn modelId="{A8EFF16A-7D54-4318-9856-FE892B8B1D3D}" type="presParOf" srcId="{621C0463-B4E6-4225-A468-4CDD1AD1BF39}" destId="{6CB08E55-8AEC-4DFE-BD34-CF31061528F2}" srcOrd="3" destOrd="0" presId="urn:microsoft.com/office/officeart/2018/5/layout/CenteredIconLabelDescriptionList"/>
    <dgm:cxn modelId="{7AA06F08-582D-45CC-8BE5-D4C5091E4200}" type="presParOf" srcId="{621C0463-B4E6-4225-A468-4CDD1AD1BF39}" destId="{9604F094-8865-424E-8AEC-9215D9D4828D}" srcOrd="4" destOrd="0" presId="urn:microsoft.com/office/officeart/2018/5/layout/CenteredIconLabelDescriptionList"/>
    <dgm:cxn modelId="{3CCB857C-441D-452A-8EB8-88F8E3E682B8}" type="presParOf" srcId="{01C42356-A908-4A15-ADA8-15C13A793946}" destId="{396E2CD7-EDB5-4710-95C5-2B42A98A201C}" srcOrd="3" destOrd="0" presId="urn:microsoft.com/office/officeart/2018/5/layout/CenteredIconLabelDescriptionList"/>
    <dgm:cxn modelId="{EE6E22A7-A420-4D8B-A30B-BFD67210DCC2}" type="presParOf" srcId="{01C42356-A908-4A15-ADA8-15C13A793946}" destId="{C5CA9236-2A0C-4751-9133-C794671B1EC6}" srcOrd="4" destOrd="0" presId="urn:microsoft.com/office/officeart/2018/5/layout/CenteredIconLabelDescriptionList"/>
    <dgm:cxn modelId="{2D67369C-C407-4F31-A8E9-7E1DEBA38175}" type="presParOf" srcId="{C5CA9236-2A0C-4751-9133-C794671B1EC6}" destId="{90EB72A0-EEEB-489A-9966-401A3C5DC830}" srcOrd="0" destOrd="0" presId="urn:microsoft.com/office/officeart/2018/5/layout/CenteredIconLabelDescriptionList"/>
    <dgm:cxn modelId="{F08FE289-F806-4A19-A485-BFFBC16EA9BA}" type="presParOf" srcId="{C5CA9236-2A0C-4751-9133-C794671B1EC6}" destId="{9F1BB0C1-31DB-47B6-BADF-CF8B48373700}" srcOrd="1" destOrd="0" presId="urn:microsoft.com/office/officeart/2018/5/layout/CenteredIconLabelDescriptionList"/>
    <dgm:cxn modelId="{15E51C48-E197-48BC-A9EF-49667B88CBD6}" type="presParOf" srcId="{C5CA9236-2A0C-4751-9133-C794671B1EC6}" destId="{8E3FBFBA-33B6-4620-8EF2-EBB17D02AAF7}" srcOrd="2" destOrd="0" presId="urn:microsoft.com/office/officeart/2018/5/layout/CenteredIconLabelDescriptionList"/>
    <dgm:cxn modelId="{77B7C61C-1302-419E-9C0D-B60BAE424F89}" type="presParOf" srcId="{C5CA9236-2A0C-4751-9133-C794671B1EC6}" destId="{DA191744-A72A-4F8D-BAD2-C02944E04E9D}" srcOrd="3" destOrd="0" presId="urn:microsoft.com/office/officeart/2018/5/layout/CenteredIconLabelDescriptionList"/>
    <dgm:cxn modelId="{8AD62566-0457-4F79-B872-A1E1BA332390}" type="presParOf" srcId="{C5CA9236-2A0C-4751-9133-C794671B1EC6}" destId="{079B8287-AB5D-4B93-97AB-0DECB445397E}"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D79376D-3813-45AD-9753-E1454BD53ADA}"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68EC8AC9-0BD9-42DC-A8B8-B5CAE74EB56D}">
      <dgm:prSet/>
      <dgm:spPr/>
      <dgm:t>
        <a:bodyPr/>
        <a:lstStyle/>
        <a:p>
          <a:r>
            <a:rPr lang="en-US" dirty="0"/>
            <a:t>Mix of delivery models</a:t>
          </a:r>
          <a:r>
            <a:rPr lang="en-US" dirty="0">
              <a:latin typeface="Aptos Display" panose="020F0302020204030204"/>
            </a:rPr>
            <a:t>/locations</a:t>
          </a:r>
          <a:r>
            <a:rPr lang="en-US" dirty="0"/>
            <a:t> within the models</a:t>
          </a:r>
        </a:p>
      </dgm:t>
    </dgm:pt>
    <dgm:pt modelId="{E0B30A0B-C14F-4D86-8A68-145F0992F749}" type="parTrans" cxnId="{F9950261-4040-47FF-8CEC-37E87F363ECA}">
      <dgm:prSet/>
      <dgm:spPr/>
      <dgm:t>
        <a:bodyPr/>
        <a:lstStyle/>
        <a:p>
          <a:endParaRPr lang="en-US"/>
        </a:p>
      </dgm:t>
    </dgm:pt>
    <dgm:pt modelId="{E6E0D94D-D98F-4CDF-82EA-194D9287E51B}" type="sibTrans" cxnId="{F9950261-4040-47FF-8CEC-37E87F363ECA}">
      <dgm:prSet/>
      <dgm:spPr/>
      <dgm:t>
        <a:bodyPr/>
        <a:lstStyle/>
        <a:p>
          <a:endParaRPr lang="en-US"/>
        </a:p>
      </dgm:t>
    </dgm:pt>
    <dgm:pt modelId="{71797C88-02E0-4636-AA78-4B8BC8381A5A}">
      <dgm:prSet/>
      <dgm:spPr/>
      <dgm:t>
        <a:bodyPr/>
        <a:lstStyle/>
        <a:p>
          <a:r>
            <a:rPr lang="en-US" dirty="0"/>
            <a:t>Main Campus</a:t>
          </a:r>
        </a:p>
      </dgm:t>
    </dgm:pt>
    <dgm:pt modelId="{803F5666-6DB1-4651-B7C3-179409F63BA1}" type="parTrans" cxnId="{84E8A712-22AA-4E7C-8D64-9B98A7D8DA61}">
      <dgm:prSet/>
      <dgm:spPr/>
      <dgm:t>
        <a:bodyPr/>
        <a:lstStyle/>
        <a:p>
          <a:endParaRPr lang="en-US"/>
        </a:p>
      </dgm:t>
    </dgm:pt>
    <dgm:pt modelId="{0D174EA7-1492-4F05-A5BF-339953D4F3EE}" type="sibTrans" cxnId="{84E8A712-22AA-4E7C-8D64-9B98A7D8DA61}">
      <dgm:prSet/>
      <dgm:spPr/>
      <dgm:t>
        <a:bodyPr/>
        <a:lstStyle/>
        <a:p>
          <a:endParaRPr lang="en-US"/>
        </a:p>
      </dgm:t>
    </dgm:pt>
    <dgm:pt modelId="{B8C1FB69-12B8-42AC-824E-39BC2A59875B}">
      <dgm:prSet/>
      <dgm:spPr/>
      <dgm:t>
        <a:bodyPr/>
        <a:lstStyle/>
        <a:p>
          <a:r>
            <a:rPr lang="en-US" dirty="0"/>
            <a:t>Auxiliary Campuses</a:t>
          </a:r>
        </a:p>
      </dgm:t>
    </dgm:pt>
    <dgm:pt modelId="{1B4125CF-3D3D-4952-8236-737DB1CCEB89}" type="parTrans" cxnId="{7CB875AB-FD93-4C18-91AF-0A35DED89791}">
      <dgm:prSet/>
      <dgm:spPr/>
      <dgm:t>
        <a:bodyPr/>
        <a:lstStyle/>
        <a:p>
          <a:endParaRPr lang="en-US"/>
        </a:p>
      </dgm:t>
    </dgm:pt>
    <dgm:pt modelId="{E4BEDF76-3EFE-4D83-8795-0A17982C5058}" type="sibTrans" cxnId="{7CB875AB-FD93-4C18-91AF-0A35DED89791}">
      <dgm:prSet/>
      <dgm:spPr/>
      <dgm:t>
        <a:bodyPr/>
        <a:lstStyle/>
        <a:p>
          <a:endParaRPr lang="en-US"/>
        </a:p>
      </dgm:t>
    </dgm:pt>
    <dgm:pt modelId="{8000F76E-12E0-4125-B9FD-C3A0CE92142E}">
      <dgm:prSet/>
      <dgm:spPr/>
      <dgm:t>
        <a:bodyPr/>
        <a:lstStyle/>
        <a:p>
          <a:r>
            <a:rPr lang="en-US" dirty="0"/>
            <a:t>Shared Campus</a:t>
          </a:r>
        </a:p>
      </dgm:t>
    </dgm:pt>
    <dgm:pt modelId="{8F17E6A7-48D5-4059-9257-6B36C75D420D}" type="parTrans" cxnId="{0E017AB5-5CA0-4292-AB64-957E78C740D6}">
      <dgm:prSet/>
      <dgm:spPr/>
      <dgm:t>
        <a:bodyPr/>
        <a:lstStyle/>
        <a:p>
          <a:endParaRPr lang="en-US"/>
        </a:p>
      </dgm:t>
    </dgm:pt>
    <dgm:pt modelId="{9851F2CE-AFE8-4B4A-B600-3FE7B1A448AE}" type="sibTrans" cxnId="{0E017AB5-5CA0-4292-AB64-957E78C740D6}">
      <dgm:prSet/>
      <dgm:spPr/>
      <dgm:t>
        <a:bodyPr/>
        <a:lstStyle/>
        <a:p>
          <a:endParaRPr lang="en-US"/>
        </a:p>
      </dgm:t>
    </dgm:pt>
    <dgm:pt modelId="{E1917149-69F4-4B14-BADD-31E72D29902A}">
      <dgm:prSet/>
      <dgm:spPr/>
      <dgm:t>
        <a:bodyPr/>
        <a:lstStyle/>
        <a:p>
          <a:r>
            <a:rPr lang="en-US" dirty="0"/>
            <a:t>Satellite Location</a:t>
          </a:r>
        </a:p>
      </dgm:t>
    </dgm:pt>
    <dgm:pt modelId="{1BF86DCA-8913-4A68-BCE2-5D4E1B64D7AF}" type="parTrans" cxnId="{1841D0AA-A3CF-4FE0-8CB2-D68C7350DE78}">
      <dgm:prSet/>
      <dgm:spPr/>
      <dgm:t>
        <a:bodyPr/>
        <a:lstStyle/>
        <a:p>
          <a:endParaRPr lang="en-US"/>
        </a:p>
      </dgm:t>
    </dgm:pt>
    <dgm:pt modelId="{0F654932-D9FD-4845-A498-454D7E815DF4}" type="sibTrans" cxnId="{1841D0AA-A3CF-4FE0-8CB2-D68C7350DE78}">
      <dgm:prSet/>
      <dgm:spPr/>
      <dgm:t>
        <a:bodyPr/>
        <a:lstStyle/>
        <a:p>
          <a:endParaRPr lang="en-US"/>
        </a:p>
      </dgm:t>
    </dgm:pt>
    <dgm:pt modelId="{20F7B196-8899-4197-956B-D7A997694C94}">
      <dgm:prSet/>
      <dgm:spPr/>
      <dgm:t>
        <a:bodyPr/>
        <a:lstStyle/>
        <a:p>
          <a:r>
            <a:rPr lang="en-US" dirty="0"/>
            <a:t>Providers – K12 vs. CTPD</a:t>
          </a:r>
        </a:p>
      </dgm:t>
    </dgm:pt>
    <dgm:pt modelId="{4E5C0740-F038-4A69-86E5-9E0E5E8A4E8F}" type="parTrans" cxnId="{1CE89F14-9757-440C-93FA-960D1C027A30}">
      <dgm:prSet/>
      <dgm:spPr/>
      <dgm:t>
        <a:bodyPr/>
        <a:lstStyle/>
        <a:p>
          <a:endParaRPr lang="en-US"/>
        </a:p>
      </dgm:t>
    </dgm:pt>
    <dgm:pt modelId="{8D888B63-DFAA-4478-AF1C-93F3472281FD}" type="sibTrans" cxnId="{1CE89F14-9757-440C-93FA-960D1C027A30}">
      <dgm:prSet/>
      <dgm:spPr/>
      <dgm:t>
        <a:bodyPr/>
        <a:lstStyle/>
        <a:p>
          <a:endParaRPr lang="en-US"/>
        </a:p>
      </dgm:t>
    </dgm:pt>
    <dgm:pt modelId="{5C0C7E33-CC29-40D9-940E-DB39C03CE45A}">
      <dgm:prSet/>
      <dgm:spPr/>
      <dgm:t>
        <a:bodyPr/>
        <a:lstStyle/>
        <a:p>
          <a:r>
            <a:rPr lang="en-US" dirty="0"/>
            <a:t>Alignment with external partners</a:t>
          </a:r>
        </a:p>
      </dgm:t>
    </dgm:pt>
    <dgm:pt modelId="{FD5B059A-380A-4398-B657-C357E52BDE53}" type="parTrans" cxnId="{B2DD0737-82B6-4ADB-A0D8-AF9A3C5F247C}">
      <dgm:prSet/>
      <dgm:spPr/>
      <dgm:t>
        <a:bodyPr/>
        <a:lstStyle/>
        <a:p>
          <a:endParaRPr lang="en-US"/>
        </a:p>
      </dgm:t>
    </dgm:pt>
    <dgm:pt modelId="{E7CE968F-ECF4-4DC1-B60D-DC69034BFFD2}" type="sibTrans" cxnId="{B2DD0737-82B6-4ADB-A0D8-AF9A3C5F247C}">
      <dgm:prSet/>
      <dgm:spPr/>
      <dgm:t>
        <a:bodyPr/>
        <a:lstStyle/>
        <a:p>
          <a:endParaRPr lang="en-US"/>
        </a:p>
      </dgm:t>
    </dgm:pt>
    <dgm:pt modelId="{F5477330-BCE1-418A-9BFF-8F8BAAA52127}">
      <dgm:prSet/>
      <dgm:spPr/>
      <dgm:t>
        <a:bodyPr/>
        <a:lstStyle/>
        <a:p>
          <a:r>
            <a:rPr lang="en-US" dirty="0"/>
            <a:t>Post-Secondary Partners</a:t>
          </a:r>
        </a:p>
      </dgm:t>
    </dgm:pt>
    <dgm:pt modelId="{0AB8E11B-0AB1-4BE9-A107-6F410EB48565}" type="parTrans" cxnId="{A9B7272F-0DD3-4DFD-8CBA-FBFDDCA7E18C}">
      <dgm:prSet/>
      <dgm:spPr/>
      <dgm:t>
        <a:bodyPr/>
        <a:lstStyle/>
        <a:p>
          <a:endParaRPr lang="en-US"/>
        </a:p>
      </dgm:t>
    </dgm:pt>
    <dgm:pt modelId="{7E47B92E-77CE-4758-8292-50905AF52757}" type="sibTrans" cxnId="{A9B7272F-0DD3-4DFD-8CBA-FBFDDCA7E18C}">
      <dgm:prSet/>
      <dgm:spPr/>
      <dgm:t>
        <a:bodyPr/>
        <a:lstStyle/>
        <a:p>
          <a:endParaRPr lang="en-US"/>
        </a:p>
      </dgm:t>
    </dgm:pt>
    <dgm:pt modelId="{E4084DF3-05F1-43F6-A472-191999AB8F2A}">
      <dgm:prSet/>
      <dgm:spPr/>
      <dgm:t>
        <a:bodyPr/>
        <a:lstStyle/>
        <a:p>
          <a:r>
            <a:rPr lang="en-US" dirty="0"/>
            <a:t>Apprenticeships</a:t>
          </a:r>
        </a:p>
      </dgm:t>
    </dgm:pt>
    <dgm:pt modelId="{1C9B195C-7EC0-415C-B185-00CBCB79E9AD}" type="parTrans" cxnId="{F4F49485-1F9D-46E5-B6F5-8F5A61A3A999}">
      <dgm:prSet/>
      <dgm:spPr/>
      <dgm:t>
        <a:bodyPr/>
        <a:lstStyle/>
        <a:p>
          <a:endParaRPr lang="en-US"/>
        </a:p>
      </dgm:t>
    </dgm:pt>
    <dgm:pt modelId="{BAF2AA9B-FDA1-4546-AAD4-0C7672C293FF}" type="sibTrans" cxnId="{F4F49485-1F9D-46E5-B6F5-8F5A61A3A999}">
      <dgm:prSet/>
      <dgm:spPr/>
      <dgm:t>
        <a:bodyPr/>
        <a:lstStyle/>
        <a:p>
          <a:endParaRPr lang="en-US"/>
        </a:p>
      </dgm:t>
    </dgm:pt>
    <dgm:pt modelId="{D08682ED-03E4-46C4-95A2-093319CA18B7}">
      <dgm:prSet/>
      <dgm:spPr/>
      <dgm:t>
        <a:bodyPr/>
        <a:lstStyle/>
        <a:p>
          <a:r>
            <a:rPr lang="en-US" dirty="0"/>
            <a:t>Advisory Committees</a:t>
          </a:r>
        </a:p>
      </dgm:t>
    </dgm:pt>
    <dgm:pt modelId="{E2876EFE-F826-420C-AC34-B44D4F112654}" type="parTrans" cxnId="{8C26E2BC-4B01-4920-A8F6-76F5D1A637A4}">
      <dgm:prSet/>
      <dgm:spPr/>
      <dgm:t>
        <a:bodyPr/>
        <a:lstStyle/>
        <a:p>
          <a:endParaRPr lang="en-US"/>
        </a:p>
      </dgm:t>
    </dgm:pt>
    <dgm:pt modelId="{7E5C993E-8DA5-4345-9772-9D83F255FA07}" type="sibTrans" cxnId="{8C26E2BC-4B01-4920-A8F6-76F5D1A637A4}">
      <dgm:prSet/>
      <dgm:spPr/>
      <dgm:t>
        <a:bodyPr/>
        <a:lstStyle/>
        <a:p>
          <a:endParaRPr lang="en-US"/>
        </a:p>
      </dgm:t>
    </dgm:pt>
    <dgm:pt modelId="{F1C223F2-BCDC-4D81-8201-1964E3FDA452}" type="pres">
      <dgm:prSet presAssocID="{ED79376D-3813-45AD-9753-E1454BD53ADA}" presName="linear" presStyleCnt="0">
        <dgm:presLayoutVars>
          <dgm:animLvl val="lvl"/>
          <dgm:resizeHandles val="exact"/>
        </dgm:presLayoutVars>
      </dgm:prSet>
      <dgm:spPr/>
    </dgm:pt>
    <dgm:pt modelId="{9EE15081-943A-4B16-BF1F-C33BE2665F9E}" type="pres">
      <dgm:prSet presAssocID="{68EC8AC9-0BD9-42DC-A8B8-B5CAE74EB56D}" presName="parentText" presStyleLbl="node1" presStyleIdx="0" presStyleCnt="3">
        <dgm:presLayoutVars>
          <dgm:chMax val="0"/>
          <dgm:bulletEnabled val="1"/>
        </dgm:presLayoutVars>
      </dgm:prSet>
      <dgm:spPr/>
    </dgm:pt>
    <dgm:pt modelId="{FF0E5A0C-C5A3-42F3-95D7-6AB1301F9B4D}" type="pres">
      <dgm:prSet presAssocID="{68EC8AC9-0BD9-42DC-A8B8-B5CAE74EB56D}" presName="childText" presStyleLbl="revTx" presStyleIdx="0" presStyleCnt="2">
        <dgm:presLayoutVars>
          <dgm:bulletEnabled val="1"/>
        </dgm:presLayoutVars>
      </dgm:prSet>
      <dgm:spPr/>
    </dgm:pt>
    <dgm:pt modelId="{E88F7FEF-26D3-49B8-B513-C88E588A33E9}" type="pres">
      <dgm:prSet presAssocID="{20F7B196-8899-4197-956B-D7A997694C94}" presName="parentText" presStyleLbl="node1" presStyleIdx="1" presStyleCnt="3">
        <dgm:presLayoutVars>
          <dgm:chMax val="0"/>
          <dgm:bulletEnabled val="1"/>
        </dgm:presLayoutVars>
      </dgm:prSet>
      <dgm:spPr/>
    </dgm:pt>
    <dgm:pt modelId="{9BC4468A-F195-422B-A032-D9D5DB3A93CB}" type="pres">
      <dgm:prSet presAssocID="{8D888B63-DFAA-4478-AF1C-93F3472281FD}" presName="spacer" presStyleCnt="0"/>
      <dgm:spPr/>
    </dgm:pt>
    <dgm:pt modelId="{34744807-1BE0-441D-A45E-015DEC6A02ED}" type="pres">
      <dgm:prSet presAssocID="{5C0C7E33-CC29-40D9-940E-DB39C03CE45A}" presName="parentText" presStyleLbl="node1" presStyleIdx="2" presStyleCnt="3">
        <dgm:presLayoutVars>
          <dgm:chMax val="0"/>
          <dgm:bulletEnabled val="1"/>
        </dgm:presLayoutVars>
      </dgm:prSet>
      <dgm:spPr/>
    </dgm:pt>
    <dgm:pt modelId="{281FFBAE-226F-4A56-BD08-AA5F6E946E88}" type="pres">
      <dgm:prSet presAssocID="{5C0C7E33-CC29-40D9-940E-DB39C03CE45A}" presName="childText" presStyleLbl="revTx" presStyleIdx="1" presStyleCnt="2">
        <dgm:presLayoutVars>
          <dgm:bulletEnabled val="1"/>
        </dgm:presLayoutVars>
      </dgm:prSet>
      <dgm:spPr/>
    </dgm:pt>
  </dgm:ptLst>
  <dgm:cxnLst>
    <dgm:cxn modelId="{7C8DC407-1015-47DF-A71F-3B7C6F190595}" type="presOf" srcId="{E4084DF3-05F1-43F6-A472-191999AB8F2A}" destId="{281FFBAE-226F-4A56-BD08-AA5F6E946E88}" srcOrd="0" destOrd="1" presId="urn:microsoft.com/office/officeart/2005/8/layout/vList2"/>
    <dgm:cxn modelId="{D9B5710D-53DD-4CFD-980E-1F25533CA99E}" type="presOf" srcId="{68EC8AC9-0BD9-42DC-A8B8-B5CAE74EB56D}" destId="{9EE15081-943A-4B16-BF1F-C33BE2665F9E}" srcOrd="0" destOrd="0" presId="urn:microsoft.com/office/officeart/2005/8/layout/vList2"/>
    <dgm:cxn modelId="{84E8A712-22AA-4E7C-8D64-9B98A7D8DA61}" srcId="{68EC8AC9-0BD9-42DC-A8B8-B5CAE74EB56D}" destId="{71797C88-02E0-4636-AA78-4B8BC8381A5A}" srcOrd="0" destOrd="0" parTransId="{803F5666-6DB1-4651-B7C3-179409F63BA1}" sibTransId="{0D174EA7-1492-4F05-A5BF-339953D4F3EE}"/>
    <dgm:cxn modelId="{1CE89F14-9757-440C-93FA-960D1C027A30}" srcId="{ED79376D-3813-45AD-9753-E1454BD53ADA}" destId="{20F7B196-8899-4197-956B-D7A997694C94}" srcOrd="1" destOrd="0" parTransId="{4E5C0740-F038-4A69-86E5-9E0E5E8A4E8F}" sibTransId="{8D888B63-DFAA-4478-AF1C-93F3472281FD}"/>
    <dgm:cxn modelId="{50C7F020-9D67-486F-AC04-AE49793238C4}" type="presOf" srcId="{D08682ED-03E4-46C4-95A2-093319CA18B7}" destId="{281FFBAE-226F-4A56-BD08-AA5F6E946E88}" srcOrd="0" destOrd="2" presId="urn:microsoft.com/office/officeart/2005/8/layout/vList2"/>
    <dgm:cxn modelId="{E3843327-284F-41A0-96C5-514018DF7609}" type="presOf" srcId="{ED79376D-3813-45AD-9753-E1454BD53ADA}" destId="{F1C223F2-BCDC-4D81-8201-1964E3FDA452}" srcOrd="0" destOrd="0" presId="urn:microsoft.com/office/officeart/2005/8/layout/vList2"/>
    <dgm:cxn modelId="{23D7E52E-5AE2-49A1-B278-D3B772B6B2A3}" type="presOf" srcId="{E1917149-69F4-4B14-BADD-31E72D29902A}" destId="{FF0E5A0C-C5A3-42F3-95D7-6AB1301F9B4D}" srcOrd="0" destOrd="3" presId="urn:microsoft.com/office/officeart/2005/8/layout/vList2"/>
    <dgm:cxn modelId="{A9B7272F-0DD3-4DFD-8CBA-FBFDDCA7E18C}" srcId="{5C0C7E33-CC29-40D9-940E-DB39C03CE45A}" destId="{F5477330-BCE1-418A-9BFF-8F8BAAA52127}" srcOrd="0" destOrd="0" parTransId="{0AB8E11B-0AB1-4BE9-A107-6F410EB48565}" sibTransId="{7E47B92E-77CE-4758-8292-50905AF52757}"/>
    <dgm:cxn modelId="{B2DD0737-82B6-4ADB-A0D8-AF9A3C5F247C}" srcId="{ED79376D-3813-45AD-9753-E1454BD53ADA}" destId="{5C0C7E33-CC29-40D9-940E-DB39C03CE45A}" srcOrd="2" destOrd="0" parTransId="{FD5B059A-380A-4398-B657-C357E52BDE53}" sibTransId="{E7CE968F-ECF4-4DC1-B60D-DC69034BFFD2}"/>
    <dgm:cxn modelId="{F9950261-4040-47FF-8CEC-37E87F363ECA}" srcId="{ED79376D-3813-45AD-9753-E1454BD53ADA}" destId="{68EC8AC9-0BD9-42DC-A8B8-B5CAE74EB56D}" srcOrd="0" destOrd="0" parTransId="{E0B30A0B-C14F-4D86-8A68-145F0992F749}" sibTransId="{E6E0D94D-D98F-4CDF-82EA-194D9287E51B}"/>
    <dgm:cxn modelId="{AC6FFB42-9675-40F9-8CFB-F226A8F510EB}" type="presOf" srcId="{8000F76E-12E0-4125-B9FD-C3A0CE92142E}" destId="{FF0E5A0C-C5A3-42F3-95D7-6AB1301F9B4D}" srcOrd="0" destOrd="2" presId="urn:microsoft.com/office/officeart/2005/8/layout/vList2"/>
    <dgm:cxn modelId="{BD1A1857-FFEC-4D80-BBAE-F7D75369E9E7}" type="presOf" srcId="{F5477330-BCE1-418A-9BFF-8F8BAAA52127}" destId="{281FFBAE-226F-4A56-BD08-AA5F6E946E88}" srcOrd="0" destOrd="0" presId="urn:microsoft.com/office/officeart/2005/8/layout/vList2"/>
    <dgm:cxn modelId="{F4F49485-1F9D-46E5-B6F5-8F5A61A3A999}" srcId="{5C0C7E33-CC29-40D9-940E-DB39C03CE45A}" destId="{E4084DF3-05F1-43F6-A472-191999AB8F2A}" srcOrd="1" destOrd="0" parTransId="{1C9B195C-7EC0-415C-B185-00CBCB79E9AD}" sibTransId="{BAF2AA9B-FDA1-4546-AAD4-0C7672C293FF}"/>
    <dgm:cxn modelId="{EF73AC85-0A24-459A-81BB-614085541080}" type="presOf" srcId="{B8C1FB69-12B8-42AC-824E-39BC2A59875B}" destId="{FF0E5A0C-C5A3-42F3-95D7-6AB1301F9B4D}" srcOrd="0" destOrd="1" presId="urn:microsoft.com/office/officeart/2005/8/layout/vList2"/>
    <dgm:cxn modelId="{F75A429E-C9BF-4E32-B7EF-790987B639C5}" type="presOf" srcId="{71797C88-02E0-4636-AA78-4B8BC8381A5A}" destId="{FF0E5A0C-C5A3-42F3-95D7-6AB1301F9B4D}" srcOrd="0" destOrd="0" presId="urn:microsoft.com/office/officeart/2005/8/layout/vList2"/>
    <dgm:cxn modelId="{9B605FAA-D56F-4C92-881C-D707F9E8427D}" type="presOf" srcId="{5C0C7E33-CC29-40D9-940E-DB39C03CE45A}" destId="{34744807-1BE0-441D-A45E-015DEC6A02ED}" srcOrd="0" destOrd="0" presId="urn:microsoft.com/office/officeart/2005/8/layout/vList2"/>
    <dgm:cxn modelId="{1841D0AA-A3CF-4FE0-8CB2-D68C7350DE78}" srcId="{68EC8AC9-0BD9-42DC-A8B8-B5CAE74EB56D}" destId="{E1917149-69F4-4B14-BADD-31E72D29902A}" srcOrd="3" destOrd="0" parTransId="{1BF86DCA-8913-4A68-BCE2-5D4E1B64D7AF}" sibTransId="{0F654932-D9FD-4845-A498-454D7E815DF4}"/>
    <dgm:cxn modelId="{7CB875AB-FD93-4C18-91AF-0A35DED89791}" srcId="{68EC8AC9-0BD9-42DC-A8B8-B5CAE74EB56D}" destId="{B8C1FB69-12B8-42AC-824E-39BC2A59875B}" srcOrd="1" destOrd="0" parTransId="{1B4125CF-3D3D-4952-8236-737DB1CCEB89}" sibTransId="{E4BEDF76-3EFE-4D83-8795-0A17982C5058}"/>
    <dgm:cxn modelId="{0E017AB5-5CA0-4292-AB64-957E78C740D6}" srcId="{68EC8AC9-0BD9-42DC-A8B8-B5CAE74EB56D}" destId="{8000F76E-12E0-4125-B9FD-C3A0CE92142E}" srcOrd="2" destOrd="0" parTransId="{8F17E6A7-48D5-4059-9257-6B36C75D420D}" sibTransId="{9851F2CE-AFE8-4B4A-B600-3FE7B1A448AE}"/>
    <dgm:cxn modelId="{8C26E2BC-4B01-4920-A8F6-76F5D1A637A4}" srcId="{5C0C7E33-CC29-40D9-940E-DB39C03CE45A}" destId="{D08682ED-03E4-46C4-95A2-093319CA18B7}" srcOrd="2" destOrd="0" parTransId="{E2876EFE-F826-420C-AC34-B44D4F112654}" sibTransId="{7E5C993E-8DA5-4345-9772-9D83F255FA07}"/>
    <dgm:cxn modelId="{5979FAF5-1665-4B36-B427-8878734373B4}" type="presOf" srcId="{20F7B196-8899-4197-956B-D7A997694C94}" destId="{E88F7FEF-26D3-49B8-B513-C88E588A33E9}" srcOrd="0" destOrd="0" presId="urn:microsoft.com/office/officeart/2005/8/layout/vList2"/>
    <dgm:cxn modelId="{A0295670-4C0C-42A8-B394-818F95D90272}" type="presParOf" srcId="{F1C223F2-BCDC-4D81-8201-1964E3FDA452}" destId="{9EE15081-943A-4B16-BF1F-C33BE2665F9E}" srcOrd="0" destOrd="0" presId="urn:microsoft.com/office/officeart/2005/8/layout/vList2"/>
    <dgm:cxn modelId="{C90E58F9-2AD2-4673-A039-6FB58A3B9B70}" type="presParOf" srcId="{F1C223F2-BCDC-4D81-8201-1964E3FDA452}" destId="{FF0E5A0C-C5A3-42F3-95D7-6AB1301F9B4D}" srcOrd="1" destOrd="0" presId="urn:microsoft.com/office/officeart/2005/8/layout/vList2"/>
    <dgm:cxn modelId="{8ECA6A0D-8FA2-40E9-8BF8-02F92DCF09E2}" type="presParOf" srcId="{F1C223F2-BCDC-4D81-8201-1964E3FDA452}" destId="{E88F7FEF-26D3-49B8-B513-C88E588A33E9}" srcOrd="2" destOrd="0" presId="urn:microsoft.com/office/officeart/2005/8/layout/vList2"/>
    <dgm:cxn modelId="{A62CFAB3-B725-4AC8-A84B-83CC2DAF958F}" type="presParOf" srcId="{F1C223F2-BCDC-4D81-8201-1964E3FDA452}" destId="{9BC4468A-F195-422B-A032-D9D5DB3A93CB}" srcOrd="3" destOrd="0" presId="urn:microsoft.com/office/officeart/2005/8/layout/vList2"/>
    <dgm:cxn modelId="{822E5703-8214-4F5E-A12C-D1114D14BD5D}" type="presParOf" srcId="{F1C223F2-BCDC-4D81-8201-1964E3FDA452}" destId="{34744807-1BE0-441D-A45E-015DEC6A02ED}" srcOrd="4" destOrd="0" presId="urn:microsoft.com/office/officeart/2005/8/layout/vList2"/>
    <dgm:cxn modelId="{034B047E-CED1-4C3A-94AC-C3E9C96F007F}" type="presParOf" srcId="{F1C223F2-BCDC-4D81-8201-1964E3FDA452}" destId="{281FFBAE-226F-4A56-BD08-AA5F6E946E88}"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AC8D859-4EA4-4A58-B2DC-B26A0A4B9E9C}" type="doc">
      <dgm:prSet loTypeId="urn:microsoft.com/office/officeart/2016/7/layout/RepeatingBendingProcessNew" loCatId="process" qsTypeId="urn:microsoft.com/office/officeart/2005/8/quickstyle/simple1" qsCatId="simple" csTypeId="urn:microsoft.com/office/officeart/2005/8/colors/colorful1" csCatId="colorful" phldr="1"/>
      <dgm:spPr/>
      <dgm:t>
        <a:bodyPr/>
        <a:lstStyle/>
        <a:p>
          <a:endParaRPr lang="en-US"/>
        </a:p>
      </dgm:t>
    </dgm:pt>
    <dgm:pt modelId="{ADFE199A-9E18-4018-8F10-C1FE1CD0F03D}">
      <dgm:prSet/>
      <dgm:spPr/>
      <dgm:t>
        <a:bodyPr/>
        <a:lstStyle/>
        <a:p>
          <a:r>
            <a:rPr lang="en-US" dirty="0"/>
            <a:t>Career Exploration</a:t>
          </a:r>
        </a:p>
      </dgm:t>
    </dgm:pt>
    <dgm:pt modelId="{B1C9BF4B-72EF-4DDE-AAC3-3F4850B4C313}" type="parTrans" cxnId="{2E7F6D7C-88D2-4175-A829-BA1E45547D64}">
      <dgm:prSet/>
      <dgm:spPr/>
      <dgm:t>
        <a:bodyPr/>
        <a:lstStyle/>
        <a:p>
          <a:endParaRPr lang="en-US"/>
        </a:p>
      </dgm:t>
    </dgm:pt>
    <dgm:pt modelId="{12C267B5-6461-4644-9780-769458AFDA31}" type="sibTrans" cxnId="{2E7F6D7C-88D2-4175-A829-BA1E45547D64}">
      <dgm:prSet/>
      <dgm:spPr/>
      <dgm:t>
        <a:bodyPr/>
        <a:lstStyle/>
        <a:p>
          <a:endParaRPr lang="en-US"/>
        </a:p>
      </dgm:t>
    </dgm:pt>
    <dgm:pt modelId="{FDED2A6D-CE37-4487-9705-54F8FC82460B}">
      <dgm:prSet/>
      <dgm:spPr/>
      <dgm:t>
        <a:bodyPr/>
        <a:lstStyle/>
        <a:p>
          <a:r>
            <a:rPr lang="en-US" dirty="0"/>
            <a:t>Middle School Programming</a:t>
          </a:r>
        </a:p>
      </dgm:t>
    </dgm:pt>
    <dgm:pt modelId="{2339EF71-26AB-44F0-8BB6-5DCBB3D25B19}" type="parTrans" cxnId="{00AD4FBB-6BC3-4A02-B73B-885FE098C84E}">
      <dgm:prSet/>
      <dgm:spPr/>
      <dgm:t>
        <a:bodyPr/>
        <a:lstStyle/>
        <a:p>
          <a:endParaRPr lang="en-US"/>
        </a:p>
      </dgm:t>
    </dgm:pt>
    <dgm:pt modelId="{DF69FE1F-FE45-4065-8966-F6FFD4B7503E}" type="sibTrans" cxnId="{00AD4FBB-6BC3-4A02-B73B-885FE098C84E}">
      <dgm:prSet/>
      <dgm:spPr/>
      <dgm:t>
        <a:bodyPr/>
        <a:lstStyle/>
        <a:p>
          <a:endParaRPr lang="en-US"/>
        </a:p>
      </dgm:t>
    </dgm:pt>
    <dgm:pt modelId="{09E60AAB-A7AA-4EE9-936F-1F0C1A3137B0}">
      <dgm:prSet/>
      <dgm:spPr/>
      <dgm:t>
        <a:bodyPr/>
        <a:lstStyle/>
        <a:p>
          <a:r>
            <a:rPr lang="en-US" dirty="0"/>
            <a:t>Satellite Programming</a:t>
          </a:r>
        </a:p>
      </dgm:t>
    </dgm:pt>
    <dgm:pt modelId="{690C7F8A-EC28-4FBE-A086-647E7D71226D}" type="parTrans" cxnId="{C77C1BA0-959D-4119-9B1E-2C5FC5341275}">
      <dgm:prSet/>
      <dgm:spPr/>
      <dgm:t>
        <a:bodyPr/>
        <a:lstStyle/>
        <a:p>
          <a:endParaRPr lang="en-US"/>
        </a:p>
      </dgm:t>
    </dgm:pt>
    <dgm:pt modelId="{41751B89-8611-4505-BE6D-CCFC07A12DC0}" type="sibTrans" cxnId="{C77C1BA0-959D-4119-9B1E-2C5FC5341275}">
      <dgm:prSet/>
      <dgm:spPr/>
      <dgm:t>
        <a:bodyPr/>
        <a:lstStyle/>
        <a:p>
          <a:endParaRPr lang="en-US"/>
        </a:p>
      </dgm:t>
    </dgm:pt>
    <dgm:pt modelId="{749F363D-4070-4613-913A-F3DF148A4404}">
      <dgm:prSet/>
      <dgm:spPr/>
      <dgm:t>
        <a:bodyPr/>
        <a:lstStyle/>
        <a:p>
          <a:r>
            <a:rPr lang="en-US" dirty="0"/>
            <a:t>Main Campus Programming</a:t>
          </a:r>
        </a:p>
      </dgm:t>
    </dgm:pt>
    <dgm:pt modelId="{5FE7C16A-F522-4C7F-98B8-D864D2555791}" type="parTrans" cxnId="{C6C95BDA-0BEA-4776-AB81-3E28BA0AB48C}">
      <dgm:prSet/>
      <dgm:spPr/>
      <dgm:t>
        <a:bodyPr/>
        <a:lstStyle/>
        <a:p>
          <a:endParaRPr lang="en-US"/>
        </a:p>
      </dgm:t>
    </dgm:pt>
    <dgm:pt modelId="{072878DC-4056-4841-95E5-D3B124D1A1B0}" type="sibTrans" cxnId="{C6C95BDA-0BEA-4776-AB81-3E28BA0AB48C}">
      <dgm:prSet/>
      <dgm:spPr/>
      <dgm:t>
        <a:bodyPr/>
        <a:lstStyle/>
        <a:p>
          <a:endParaRPr lang="en-US"/>
        </a:p>
      </dgm:t>
    </dgm:pt>
    <dgm:pt modelId="{9614F48E-B2BB-465F-9E79-D24A73637E28}">
      <dgm:prSet/>
      <dgm:spPr/>
      <dgm:t>
        <a:bodyPr/>
        <a:lstStyle/>
        <a:p>
          <a:r>
            <a:rPr lang="en-US" dirty="0"/>
            <a:t>Career Training</a:t>
          </a:r>
        </a:p>
      </dgm:t>
    </dgm:pt>
    <dgm:pt modelId="{AE90F84D-5521-4421-BD7D-108543BD4B0D}" type="parTrans" cxnId="{A4746E17-B8EB-4D04-9AE7-C1C91A721D17}">
      <dgm:prSet/>
      <dgm:spPr/>
      <dgm:t>
        <a:bodyPr/>
        <a:lstStyle/>
        <a:p>
          <a:endParaRPr lang="en-US"/>
        </a:p>
      </dgm:t>
    </dgm:pt>
    <dgm:pt modelId="{44874A3F-FBA9-4AB7-ADE6-7635A6B7318E}" type="sibTrans" cxnId="{A4746E17-B8EB-4D04-9AE7-C1C91A721D17}">
      <dgm:prSet/>
      <dgm:spPr/>
      <dgm:t>
        <a:bodyPr/>
        <a:lstStyle/>
        <a:p>
          <a:endParaRPr lang="en-US"/>
        </a:p>
      </dgm:t>
    </dgm:pt>
    <dgm:pt modelId="{2E465C36-AE29-4E40-9EA1-E3792BFE2E17}">
      <dgm:prSet/>
      <dgm:spPr/>
      <dgm:t>
        <a:bodyPr/>
        <a:lstStyle/>
        <a:p>
          <a:r>
            <a:rPr lang="en-US" dirty="0"/>
            <a:t>Senior Only Programming</a:t>
          </a:r>
        </a:p>
      </dgm:t>
    </dgm:pt>
    <dgm:pt modelId="{B27B6032-4554-454A-B471-D2E857C92BDC}" type="parTrans" cxnId="{B95FF12C-8246-49D5-819D-CF492549A4EF}">
      <dgm:prSet/>
      <dgm:spPr/>
      <dgm:t>
        <a:bodyPr/>
        <a:lstStyle/>
        <a:p>
          <a:endParaRPr lang="en-US"/>
        </a:p>
      </dgm:t>
    </dgm:pt>
    <dgm:pt modelId="{D157F1DD-D716-47CC-B962-F506CDDE1F3E}" type="sibTrans" cxnId="{B95FF12C-8246-49D5-819D-CF492549A4EF}">
      <dgm:prSet/>
      <dgm:spPr/>
      <dgm:t>
        <a:bodyPr/>
        <a:lstStyle/>
        <a:p>
          <a:endParaRPr lang="en-US"/>
        </a:p>
      </dgm:t>
    </dgm:pt>
    <dgm:pt modelId="{18DB56D2-A9DC-476D-8F92-274F874ECADD}">
      <dgm:prSet/>
      <dgm:spPr/>
      <dgm:t>
        <a:bodyPr/>
        <a:lstStyle/>
        <a:p>
          <a:r>
            <a:rPr lang="en-US" dirty="0"/>
            <a:t>Industry Recognized Credentials</a:t>
          </a:r>
        </a:p>
      </dgm:t>
    </dgm:pt>
    <dgm:pt modelId="{C1EA6390-C022-48FB-A0B1-C6EFCF8FBDBB}" type="parTrans" cxnId="{33FFD616-CED1-40F9-888D-289AEFD7470E}">
      <dgm:prSet/>
      <dgm:spPr/>
      <dgm:t>
        <a:bodyPr/>
        <a:lstStyle/>
        <a:p>
          <a:endParaRPr lang="en-US"/>
        </a:p>
      </dgm:t>
    </dgm:pt>
    <dgm:pt modelId="{4475C98F-41AC-4E15-8690-310CFA936824}" type="sibTrans" cxnId="{33FFD616-CED1-40F9-888D-289AEFD7470E}">
      <dgm:prSet/>
      <dgm:spPr/>
      <dgm:t>
        <a:bodyPr/>
        <a:lstStyle/>
        <a:p>
          <a:endParaRPr lang="en-US"/>
        </a:p>
      </dgm:t>
    </dgm:pt>
    <dgm:pt modelId="{116D3D06-8F50-4612-8A46-D3168DE7F5EB}">
      <dgm:prSet/>
      <dgm:spPr/>
      <dgm:t>
        <a:bodyPr/>
        <a:lstStyle/>
        <a:p>
          <a:r>
            <a:rPr lang="en-US" dirty="0"/>
            <a:t>Job Training Coordination</a:t>
          </a:r>
        </a:p>
      </dgm:t>
    </dgm:pt>
    <dgm:pt modelId="{A2D3D15B-5CA5-495D-8822-CEFB0F291933}" type="parTrans" cxnId="{917A5A63-488E-44FA-AA6E-A31B896EABED}">
      <dgm:prSet/>
      <dgm:spPr/>
      <dgm:t>
        <a:bodyPr/>
        <a:lstStyle/>
        <a:p>
          <a:endParaRPr lang="en-US"/>
        </a:p>
      </dgm:t>
    </dgm:pt>
    <dgm:pt modelId="{4D0AC127-101C-47A7-892A-661A9ED42015}" type="sibTrans" cxnId="{917A5A63-488E-44FA-AA6E-A31B896EABED}">
      <dgm:prSet/>
      <dgm:spPr/>
      <dgm:t>
        <a:bodyPr/>
        <a:lstStyle/>
        <a:p>
          <a:endParaRPr lang="en-US"/>
        </a:p>
      </dgm:t>
    </dgm:pt>
    <dgm:pt modelId="{F4DBF414-C92D-41F6-9F7B-DE4599810D55}">
      <dgm:prSet/>
      <dgm:spPr/>
      <dgm:t>
        <a:bodyPr/>
        <a:lstStyle/>
        <a:p>
          <a:r>
            <a:rPr lang="en-US" dirty="0"/>
            <a:t>OTC+</a:t>
          </a:r>
        </a:p>
      </dgm:t>
    </dgm:pt>
    <dgm:pt modelId="{61E40468-FE9A-4A41-9806-0597B28FADFF}" type="parTrans" cxnId="{0DC258B3-5AA4-4E81-861E-C289EE1FB397}">
      <dgm:prSet/>
      <dgm:spPr/>
      <dgm:t>
        <a:bodyPr/>
        <a:lstStyle/>
        <a:p>
          <a:endParaRPr lang="en-US"/>
        </a:p>
      </dgm:t>
    </dgm:pt>
    <dgm:pt modelId="{5AC5F2F5-F116-492C-814D-CEF86E1304A6}" type="sibTrans" cxnId="{0DC258B3-5AA4-4E81-861E-C289EE1FB397}">
      <dgm:prSet/>
      <dgm:spPr/>
      <dgm:t>
        <a:bodyPr/>
        <a:lstStyle/>
        <a:p>
          <a:endParaRPr lang="en-US"/>
        </a:p>
      </dgm:t>
    </dgm:pt>
    <dgm:pt modelId="{2608008A-91F8-4131-8BB6-5C7C53576391}">
      <dgm:prSet phldr="0"/>
      <dgm:spPr/>
      <dgm:t>
        <a:bodyPr/>
        <a:lstStyle/>
        <a:p>
          <a:r>
            <a:rPr lang="en-US" dirty="0">
              <a:latin typeface="Aptos Display" panose="020F0302020204030204"/>
            </a:rPr>
            <a:t>OTC</a:t>
          </a:r>
        </a:p>
      </dgm:t>
    </dgm:pt>
    <dgm:pt modelId="{A10A63AC-D1E3-4437-80C9-FAD539B2935B}" type="parTrans" cxnId="{7E3858F0-2D64-40F2-8A37-6002A077A756}">
      <dgm:prSet/>
      <dgm:spPr/>
    </dgm:pt>
    <dgm:pt modelId="{C6C390C6-2CEA-4C33-B69B-D1B2B24AD549}" type="sibTrans" cxnId="{7E3858F0-2D64-40F2-8A37-6002A077A756}">
      <dgm:prSet/>
      <dgm:spPr/>
    </dgm:pt>
    <dgm:pt modelId="{4CDE9AEC-19DE-428B-A696-FAFE275A908A}" type="pres">
      <dgm:prSet presAssocID="{6AC8D859-4EA4-4A58-B2DC-B26A0A4B9E9C}" presName="Name0" presStyleCnt="0">
        <dgm:presLayoutVars>
          <dgm:dir/>
          <dgm:resizeHandles val="exact"/>
        </dgm:presLayoutVars>
      </dgm:prSet>
      <dgm:spPr/>
    </dgm:pt>
    <dgm:pt modelId="{E7716A78-E9BD-44A6-9A33-82CF47525A41}" type="pres">
      <dgm:prSet presAssocID="{ADFE199A-9E18-4018-8F10-C1FE1CD0F03D}" presName="node" presStyleLbl="node1" presStyleIdx="0" presStyleCnt="8">
        <dgm:presLayoutVars>
          <dgm:bulletEnabled val="1"/>
        </dgm:presLayoutVars>
      </dgm:prSet>
      <dgm:spPr/>
    </dgm:pt>
    <dgm:pt modelId="{936829B1-D24C-4093-813B-D4C003B68BBA}" type="pres">
      <dgm:prSet presAssocID="{12C267B5-6461-4644-9780-769458AFDA31}" presName="sibTrans" presStyleLbl="sibTrans1D1" presStyleIdx="0" presStyleCnt="7"/>
      <dgm:spPr/>
    </dgm:pt>
    <dgm:pt modelId="{AB39E5E1-7C9B-4D70-99D0-9511560B3FB9}" type="pres">
      <dgm:prSet presAssocID="{12C267B5-6461-4644-9780-769458AFDA31}" presName="connectorText" presStyleLbl="sibTrans1D1" presStyleIdx="0" presStyleCnt="7"/>
      <dgm:spPr/>
    </dgm:pt>
    <dgm:pt modelId="{24FCDCD6-FEA1-4A86-810B-0B67034F949F}" type="pres">
      <dgm:prSet presAssocID="{FDED2A6D-CE37-4487-9705-54F8FC82460B}" presName="node" presStyleLbl="node1" presStyleIdx="1" presStyleCnt="8">
        <dgm:presLayoutVars>
          <dgm:bulletEnabled val="1"/>
        </dgm:presLayoutVars>
      </dgm:prSet>
      <dgm:spPr/>
    </dgm:pt>
    <dgm:pt modelId="{71A4F39F-1D72-4D3F-828D-E106BF1E7588}" type="pres">
      <dgm:prSet presAssocID="{DF69FE1F-FE45-4065-8966-F6FFD4B7503E}" presName="sibTrans" presStyleLbl="sibTrans1D1" presStyleIdx="1" presStyleCnt="7"/>
      <dgm:spPr/>
    </dgm:pt>
    <dgm:pt modelId="{AD5F0367-85A7-4681-B5D5-2119004E37C4}" type="pres">
      <dgm:prSet presAssocID="{DF69FE1F-FE45-4065-8966-F6FFD4B7503E}" presName="connectorText" presStyleLbl="sibTrans1D1" presStyleIdx="1" presStyleCnt="7"/>
      <dgm:spPr/>
    </dgm:pt>
    <dgm:pt modelId="{F187B572-6CE6-4B82-A0B7-77BCF4700580}" type="pres">
      <dgm:prSet presAssocID="{09E60AAB-A7AA-4EE9-936F-1F0C1A3137B0}" presName="node" presStyleLbl="node1" presStyleIdx="2" presStyleCnt="8">
        <dgm:presLayoutVars>
          <dgm:bulletEnabled val="1"/>
        </dgm:presLayoutVars>
      </dgm:prSet>
      <dgm:spPr/>
    </dgm:pt>
    <dgm:pt modelId="{87F326D6-C75B-4011-8E63-BA2A036CC968}" type="pres">
      <dgm:prSet presAssocID="{41751B89-8611-4505-BE6D-CCFC07A12DC0}" presName="sibTrans" presStyleLbl="sibTrans1D1" presStyleIdx="2" presStyleCnt="7"/>
      <dgm:spPr/>
    </dgm:pt>
    <dgm:pt modelId="{D3EB07DE-0CBC-4E55-8A0F-961462E1D8B1}" type="pres">
      <dgm:prSet presAssocID="{41751B89-8611-4505-BE6D-CCFC07A12DC0}" presName="connectorText" presStyleLbl="sibTrans1D1" presStyleIdx="2" presStyleCnt="7"/>
      <dgm:spPr/>
    </dgm:pt>
    <dgm:pt modelId="{D3AFD476-E3FE-48C9-A4A2-8E9ACC4BAA6A}" type="pres">
      <dgm:prSet presAssocID="{749F363D-4070-4613-913A-F3DF148A4404}" presName="node" presStyleLbl="node1" presStyleIdx="3" presStyleCnt="8">
        <dgm:presLayoutVars>
          <dgm:bulletEnabled val="1"/>
        </dgm:presLayoutVars>
      </dgm:prSet>
      <dgm:spPr/>
    </dgm:pt>
    <dgm:pt modelId="{198A31ED-3662-4E45-9ECC-8D6A671E786F}" type="pres">
      <dgm:prSet presAssocID="{072878DC-4056-4841-95E5-D3B124D1A1B0}" presName="sibTrans" presStyleLbl="sibTrans1D1" presStyleIdx="3" presStyleCnt="7"/>
      <dgm:spPr/>
    </dgm:pt>
    <dgm:pt modelId="{F6411025-3F02-4A0C-B45D-79B64D679DDA}" type="pres">
      <dgm:prSet presAssocID="{072878DC-4056-4841-95E5-D3B124D1A1B0}" presName="connectorText" presStyleLbl="sibTrans1D1" presStyleIdx="3" presStyleCnt="7"/>
      <dgm:spPr/>
    </dgm:pt>
    <dgm:pt modelId="{C5C451A5-65C3-44F8-BD2C-4F5095073DDC}" type="pres">
      <dgm:prSet presAssocID="{2E465C36-AE29-4E40-9EA1-E3792BFE2E17}" presName="node" presStyleLbl="node1" presStyleIdx="4" presStyleCnt="8">
        <dgm:presLayoutVars>
          <dgm:bulletEnabled val="1"/>
        </dgm:presLayoutVars>
      </dgm:prSet>
      <dgm:spPr/>
    </dgm:pt>
    <dgm:pt modelId="{D3201D7D-1D46-4682-BE46-6E0F7343EDDD}" type="pres">
      <dgm:prSet presAssocID="{D157F1DD-D716-47CC-B962-F506CDDE1F3E}" presName="sibTrans" presStyleLbl="sibTrans1D1" presStyleIdx="4" presStyleCnt="7"/>
      <dgm:spPr/>
    </dgm:pt>
    <dgm:pt modelId="{31E3333E-BEFA-4438-B1D6-46ED6A639C0D}" type="pres">
      <dgm:prSet presAssocID="{D157F1DD-D716-47CC-B962-F506CDDE1F3E}" presName="connectorText" presStyleLbl="sibTrans1D1" presStyleIdx="4" presStyleCnt="7"/>
      <dgm:spPr/>
    </dgm:pt>
    <dgm:pt modelId="{70DD7747-DE61-4FE7-8F8D-B847E38B93BE}" type="pres">
      <dgm:prSet presAssocID="{116D3D06-8F50-4612-8A46-D3168DE7F5EB}" presName="node" presStyleLbl="node1" presStyleIdx="5" presStyleCnt="8">
        <dgm:presLayoutVars>
          <dgm:bulletEnabled val="1"/>
        </dgm:presLayoutVars>
      </dgm:prSet>
      <dgm:spPr/>
    </dgm:pt>
    <dgm:pt modelId="{5C6BDD36-1759-4A0B-89D4-651AFF289C90}" type="pres">
      <dgm:prSet presAssocID="{4D0AC127-101C-47A7-892A-661A9ED42015}" presName="sibTrans" presStyleLbl="sibTrans1D1" presStyleIdx="5" presStyleCnt="7"/>
      <dgm:spPr/>
    </dgm:pt>
    <dgm:pt modelId="{F592481E-4352-4ED7-AA4B-27F2AA3F7FAC}" type="pres">
      <dgm:prSet presAssocID="{4D0AC127-101C-47A7-892A-661A9ED42015}" presName="connectorText" presStyleLbl="sibTrans1D1" presStyleIdx="5" presStyleCnt="7"/>
      <dgm:spPr/>
    </dgm:pt>
    <dgm:pt modelId="{E88F0E95-B7B0-482B-A77D-F380BFB4DB04}" type="pres">
      <dgm:prSet presAssocID="{F4DBF414-C92D-41F6-9F7B-DE4599810D55}" presName="node" presStyleLbl="node1" presStyleIdx="6" presStyleCnt="8">
        <dgm:presLayoutVars>
          <dgm:bulletEnabled val="1"/>
        </dgm:presLayoutVars>
      </dgm:prSet>
      <dgm:spPr/>
    </dgm:pt>
    <dgm:pt modelId="{9EA05A57-2DC8-45C3-B732-B34D8706047B}" type="pres">
      <dgm:prSet presAssocID="{5AC5F2F5-F116-492C-814D-CEF86E1304A6}" presName="sibTrans" presStyleLbl="sibTrans1D1" presStyleIdx="6" presStyleCnt="7"/>
      <dgm:spPr/>
    </dgm:pt>
    <dgm:pt modelId="{DFB98814-4D87-435D-BF07-20761B2DB203}" type="pres">
      <dgm:prSet presAssocID="{5AC5F2F5-F116-492C-814D-CEF86E1304A6}" presName="connectorText" presStyleLbl="sibTrans1D1" presStyleIdx="6" presStyleCnt="7"/>
      <dgm:spPr/>
    </dgm:pt>
    <dgm:pt modelId="{DDC826D6-26CD-47FF-89A1-F57B768C2FC3}" type="pres">
      <dgm:prSet presAssocID="{2608008A-91F8-4131-8BB6-5C7C53576391}" presName="node" presStyleLbl="node1" presStyleIdx="7" presStyleCnt="8">
        <dgm:presLayoutVars>
          <dgm:bulletEnabled val="1"/>
        </dgm:presLayoutVars>
      </dgm:prSet>
      <dgm:spPr/>
    </dgm:pt>
  </dgm:ptLst>
  <dgm:cxnLst>
    <dgm:cxn modelId="{7E983901-621A-4031-88BB-59476128965F}" type="presOf" srcId="{2608008A-91F8-4131-8BB6-5C7C53576391}" destId="{DDC826D6-26CD-47FF-89A1-F57B768C2FC3}" srcOrd="0" destOrd="0" presId="urn:microsoft.com/office/officeart/2016/7/layout/RepeatingBendingProcessNew"/>
    <dgm:cxn modelId="{33FFD616-CED1-40F9-888D-289AEFD7470E}" srcId="{2E465C36-AE29-4E40-9EA1-E3792BFE2E17}" destId="{18DB56D2-A9DC-476D-8F92-274F874ECADD}" srcOrd="0" destOrd="0" parTransId="{C1EA6390-C022-48FB-A0B1-C6EFCF8FBDBB}" sibTransId="{4475C98F-41AC-4E15-8690-310CFA936824}"/>
    <dgm:cxn modelId="{A4746E17-B8EB-4D04-9AE7-C1C91A721D17}" srcId="{749F363D-4070-4613-913A-F3DF148A4404}" destId="{9614F48E-B2BB-465F-9E79-D24A73637E28}" srcOrd="0" destOrd="0" parTransId="{AE90F84D-5521-4421-BD7D-108543BD4B0D}" sibTransId="{44874A3F-FBA9-4AB7-ADE6-7635A6B7318E}"/>
    <dgm:cxn modelId="{C1D26918-1603-4236-92A4-B6FCB52D9CB8}" type="presOf" srcId="{2E465C36-AE29-4E40-9EA1-E3792BFE2E17}" destId="{C5C451A5-65C3-44F8-BD2C-4F5095073DDC}" srcOrd="0" destOrd="0" presId="urn:microsoft.com/office/officeart/2016/7/layout/RepeatingBendingProcessNew"/>
    <dgm:cxn modelId="{0861C018-795D-4803-911B-196D2D88D1A0}" type="presOf" srcId="{072878DC-4056-4841-95E5-D3B124D1A1B0}" destId="{F6411025-3F02-4A0C-B45D-79B64D679DDA}" srcOrd="1" destOrd="0" presId="urn:microsoft.com/office/officeart/2016/7/layout/RepeatingBendingProcessNew"/>
    <dgm:cxn modelId="{1134AD1E-ED5C-4EEE-B8F2-4D2B01DD299F}" type="presOf" srcId="{5AC5F2F5-F116-492C-814D-CEF86E1304A6}" destId="{DFB98814-4D87-435D-BF07-20761B2DB203}" srcOrd="1" destOrd="0" presId="urn:microsoft.com/office/officeart/2016/7/layout/RepeatingBendingProcessNew"/>
    <dgm:cxn modelId="{BCD5012C-D77C-43D6-81E8-8ED107C0C96E}" type="presOf" srcId="{4D0AC127-101C-47A7-892A-661A9ED42015}" destId="{5C6BDD36-1759-4A0B-89D4-651AFF289C90}" srcOrd="0" destOrd="0" presId="urn:microsoft.com/office/officeart/2016/7/layout/RepeatingBendingProcessNew"/>
    <dgm:cxn modelId="{B95FF12C-8246-49D5-819D-CF492549A4EF}" srcId="{6AC8D859-4EA4-4A58-B2DC-B26A0A4B9E9C}" destId="{2E465C36-AE29-4E40-9EA1-E3792BFE2E17}" srcOrd="4" destOrd="0" parTransId="{B27B6032-4554-454A-B471-D2E857C92BDC}" sibTransId="{D157F1DD-D716-47CC-B962-F506CDDE1F3E}"/>
    <dgm:cxn modelId="{734D285D-0EBC-448A-9DE8-C95E5CC98473}" type="presOf" srcId="{12C267B5-6461-4644-9780-769458AFDA31}" destId="{936829B1-D24C-4093-813B-D4C003B68BBA}" srcOrd="0" destOrd="0" presId="urn:microsoft.com/office/officeart/2016/7/layout/RepeatingBendingProcessNew"/>
    <dgm:cxn modelId="{2524005E-F106-41A1-BC68-1A4FBFF18547}" type="presOf" srcId="{FDED2A6D-CE37-4487-9705-54F8FC82460B}" destId="{24FCDCD6-FEA1-4A86-810B-0B67034F949F}" srcOrd="0" destOrd="0" presId="urn:microsoft.com/office/officeart/2016/7/layout/RepeatingBendingProcessNew"/>
    <dgm:cxn modelId="{7C51F95E-A773-41B2-8291-DDA1A448F362}" type="presOf" srcId="{F4DBF414-C92D-41F6-9F7B-DE4599810D55}" destId="{E88F0E95-B7B0-482B-A77D-F380BFB4DB04}" srcOrd="0" destOrd="0" presId="urn:microsoft.com/office/officeart/2016/7/layout/RepeatingBendingProcessNew"/>
    <dgm:cxn modelId="{9FB29B62-14D4-4120-8CB5-2C01178547A8}" type="presOf" srcId="{116D3D06-8F50-4612-8A46-D3168DE7F5EB}" destId="{70DD7747-DE61-4FE7-8F8D-B847E38B93BE}" srcOrd="0" destOrd="0" presId="urn:microsoft.com/office/officeart/2016/7/layout/RepeatingBendingProcessNew"/>
    <dgm:cxn modelId="{917A5A63-488E-44FA-AA6E-A31B896EABED}" srcId="{6AC8D859-4EA4-4A58-B2DC-B26A0A4B9E9C}" destId="{116D3D06-8F50-4612-8A46-D3168DE7F5EB}" srcOrd="5" destOrd="0" parTransId="{A2D3D15B-5CA5-495D-8822-CEFB0F291933}" sibTransId="{4D0AC127-101C-47A7-892A-661A9ED42015}"/>
    <dgm:cxn modelId="{01B6B066-F21D-4D9A-A72F-4580D4F925A9}" type="presOf" srcId="{749F363D-4070-4613-913A-F3DF148A4404}" destId="{D3AFD476-E3FE-48C9-A4A2-8E9ACC4BAA6A}" srcOrd="0" destOrd="0" presId="urn:microsoft.com/office/officeart/2016/7/layout/RepeatingBendingProcessNew"/>
    <dgm:cxn modelId="{4BB1274B-C15F-43D2-9E9F-B6F8D7B91933}" type="presOf" srcId="{DF69FE1F-FE45-4065-8966-F6FFD4B7503E}" destId="{71A4F39F-1D72-4D3F-828D-E106BF1E7588}" srcOrd="0" destOrd="0" presId="urn:microsoft.com/office/officeart/2016/7/layout/RepeatingBendingProcessNew"/>
    <dgm:cxn modelId="{622FD96E-CF8E-4959-9AE9-5AE2A06B6A58}" type="presOf" srcId="{41751B89-8611-4505-BE6D-CCFC07A12DC0}" destId="{87F326D6-C75B-4011-8E63-BA2A036CC968}" srcOrd="0" destOrd="0" presId="urn:microsoft.com/office/officeart/2016/7/layout/RepeatingBendingProcessNew"/>
    <dgm:cxn modelId="{028F3571-3ACF-43DB-A04C-B7CF108FC3E9}" type="presOf" srcId="{6AC8D859-4EA4-4A58-B2DC-B26A0A4B9E9C}" destId="{4CDE9AEC-19DE-428B-A696-FAFE275A908A}" srcOrd="0" destOrd="0" presId="urn:microsoft.com/office/officeart/2016/7/layout/RepeatingBendingProcessNew"/>
    <dgm:cxn modelId="{B7D60974-B876-4CCE-89C3-65CA84478A6E}" type="presOf" srcId="{12C267B5-6461-4644-9780-769458AFDA31}" destId="{AB39E5E1-7C9B-4D70-99D0-9511560B3FB9}" srcOrd="1" destOrd="0" presId="urn:microsoft.com/office/officeart/2016/7/layout/RepeatingBendingProcessNew"/>
    <dgm:cxn modelId="{8644FB74-D854-451B-A928-B96648553705}" type="presOf" srcId="{ADFE199A-9E18-4018-8F10-C1FE1CD0F03D}" destId="{E7716A78-E9BD-44A6-9A33-82CF47525A41}" srcOrd="0" destOrd="0" presId="urn:microsoft.com/office/officeart/2016/7/layout/RepeatingBendingProcessNew"/>
    <dgm:cxn modelId="{2E7F6D7C-88D2-4175-A829-BA1E45547D64}" srcId="{6AC8D859-4EA4-4A58-B2DC-B26A0A4B9E9C}" destId="{ADFE199A-9E18-4018-8F10-C1FE1CD0F03D}" srcOrd="0" destOrd="0" parTransId="{B1C9BF4B-72EF-4DDE-AAC3-3F4850B4C313}" sibTransId="{12C267B5-6461-4644-9780-769458AFDA31}"/>
    <dgm:cxn modelId="{C6697A84-F509-4723-8242-59A99F65467D}" type="presOf" srcId="{18DB56D2-A9DC-476D-8F92-274F874ECADD}" destId="{C5C451A5-65C3-44F8-BD2C-4F5095073DDC}" srcOrd="0" destOrd="1" presId="urn:microsoft.com/office/officeart/2016/7/layout/RepeatingBendingProcessNew"/>
    <dgm:cxn modelId="{C77C1BA0-959D-4119-9B1E-2C5FC5341275}" srcId="{6AC8D859-4EA4-4A58-B2DC-B26A0A4B9E9C}" destId="{09E60AAB-A7AA-4EE9-936F-1F0C1A3137B0}" srcOrd="2" destOrd="0" parTransId="{690C7F8A-EC28-4FBE-A086-647E7D71226D}" sibTransId="{41751B89-8611-4505-BE6D-CCFC07A12DC0}"/>
    <dgm:cxn modelId="{B7CFECA3-E5C0-4751-9976-38DBC18BE4F8}" type="presOf" srcId="{D157F1DD-D716-47CC-B962-F506CDDE1F3E}" destId="{D3201D7D-1D46-4682-BE46-6E0F7343EDDD}" srcOrd="0" destOrd="0" presId="urn:microsoft.com/office/officeart/2016/7/layout/RepeatingBendingProcessNew"/>
    <dgm:cxn modelId="{978552AE-F1B6-4A1D-90EA-643DB2A45497}" type="presOf" srcId="{09E60AAB-A7AA-4EE9-936F-1F0C1A3137B0}" destId="{F187B572-6CE6-4B82-A0B7-77BCF4700580}" srcOrd="0" destOrd="0" presId="urn:microsoft.com/office/officeart/2016/7/layout/RepeatingBendingProcessNew"/>
    <dgm:cxn modelId="{0DC258B3-5AA4-4E81-861E-C289EE1FB397}" srcId="{6AC8D859-4EA4-4A58-B2DC-B26A0A4B9E9C}" destId="{F4DBF414-C92D-41F6-9F7B-DE4599810D55}" srcOrd="6" destOrd="0" parTransId="{61E40468-FE9A-4A41-9806-0597B28FADFF}" sibTransId="{5AC5F2F5-F116-492C-814D-CEF86E1304A6}"/>
    <dgm:cxn modelId="{BF98B0B7-5BD6-4DE2-A384-669D5B6E8A77}" type="presOf" srcId="{9614F48E-B2BB-465F-9E79-D24A73637E28}" destId="{D3AFD476-E3FE-48C9-A4A2-8E9ACC4BAA6A}" srcOrd="0" destOrd="1" presId="urn:microsoft.com/office/officeart/2016/7/layout/RepeatingBendingProcessNew"/>
    <dgm:cxn modelId="{97A245B8-C605-4C05-98F9-9D8C2443F332}" type="presOf" srcId="{D157F1DD-D716-47CC-B962-F506CDDE1F3E}" destId="{31E3333E-BEFA-4438-B1D6-46ED6A639C0D}" srcOrd="1" destOrd="0" presId="urn:microsoft.com/office/officeart/2016/7/layout/RepeatingBendingProcessNew"/>
    <dgm:cxn modelId="{00AD4FBB-6BC3-4A02-B73B-885FE098C84E}" srcId="{6AC8D859-4EA4-4A58-B2DC-B26A0A4B9E9C}" destId="{FDED2A6D-CE37-4487-9705-54F8FC82460B}" srcOrd="1" destOrd="0" parTransId="{2339EF71-26AB-44F0-8BB6-5DCBB3D25B19}" sibTransId="{DF69FE1F-FE45-4065-8966-F6FFD4B7503E}"/>
    <dgm:cxn modelId="{309420C2-D9CC-4B2B-9537-62C66C815E76}" type="presOf" srcId="{DF69FE1F-FE45-4065-8966-F6FFD4B7503E}" destId="{AD5F0367-85A7-4681-B5D5-2119004E37C4}" srcOrd="1" destOrd="0" presId="urn:microsoft.com/office/officeart/2016/7/layout/RepeatingBendingProcessNew"/>
    <dgm:cxn modelId="{73C0F6C2-B6B9-475D-8F67-3A87DA1B3EE2}" type="presOf" srcId="{41751B89-8611-4505-BE6D-CCFC07A12DC0}" destId="{D3EB07DE-0CBC-4E55-8A0F-961462E1D8B1}" srcOrd="1" destOrd="0" presId="urn:microsoft.com/office/officeart/2016/7/layout/RepeatingBendingProcessNew"/>
    <dgm:cxn modelId="{20C248C8-7EB8-4ECF-BBAD-14D0D1FA510B}" type="presOf" srcId="{5AC5F2F5-F116-492C-814D-CEF86E1304A6}" destId="{9EA05A57-2DC8-45C3-B732-B34D8706047B}" srcOrd="0" destOrd="0" presId="urn:microsoft.com/office/officeart/2016/7/layout/RepeatingBendingProcessNew"/>
    <dgm:cxn modelId="{C6C95BDA-0BEA-4776-AB81-3E28BA0AB48C}" srcId="{6AC8D859-4EA4-4A58-B2DC-B26A0A4B9E9C}" destId="{749F363D-4070-4613-913A-F3DF148A4404}" srcOrd="3" destOrd="0" parTransId="{5FE7C16A-F522-4C7F-98B8-D864D2555791}" sibTransId="{072878DC-4056-4841-95E5-D3B124D1A1B0}"/>
    <dgm:cxn modelId="{296B37E7-DE40-4D4D-8192-15CA6A2DE9A3}" type="presOf" srcId="{072878DC-4056-4841-95E5-D3B124D1A1B0}" destId="{198A31ED-3662-4E45-9ECC-8D6A671E786F}" srcOrd="0" destOrd="0" presId="urn:microsoft.com/office/officeart/2016/7/layout/RepeatingBendingProcessNew"/>
    <dgm:cxn modelId="{7E3858F0-2D64-40F2-8A37-6002A077A756}" srcId="{6AC8D859-4EA4-4A58-B2DC-B26A0A4B9E9C}" destId="{2608008A-91F8-4131-8BB6-5C7C53576391}" srcOrd="7" destOrd="0" parTransId="{A10A63AC-D1E3-4437-80C9-FAD539B2935B}" sibTransId="{C6C390C6-2CEA-4C33-B69B-D1B2B24AD549}"/>
    <dgm:cxn modelId="{5C0061F4-7AD0-4896-91D8-2ABC0E582D3C}" type="presOf" srcId="{4D0AC127-101C-47A7-892A-661A9ED42015}" destId="{F592481E-4352-4ED7-AA4B-27F2AA3F7FAC}" srcOrd="1" destOrd="0" presId="urn:microsoft.com/office/officeart/2016/7/layout/RepeatingBendingProcessNew"/>
    <dgm:cxn modelId="{EC005082-D1A1-49DD-987B-69EE2096909A}" type="presParOf" srcId="{4CDE9AEC-19DE-428B-A696-FAFE275A908A}" destId="{E7716A78-E9BD-44A6-9A33-82CF47525A41}" srcOrd="0" destOrd="0" presId="urn:microsoft.com/office/officeart/2016/7/layout/RepeatingBendingProcessNew"/>
    <dgm:cxn modelId="{0B4D3E57-D75C-4AB6-81D3-82C32EF5F5E0}" type="presParOf" srcId="{4CDE9AEC-19DE-428B-A696-FAFE275A908A}" destId="{936829B1-D24C-4093-813B-D4C003B68BBA}" srcOrd="1" destOrd="0" presId="urn:microsoft.com/office/officeart/2016/7/layout/RepeatingBendingProcessNew"/>
    <dgm:cxn modelId="{D4229B26-8B99-4221-BBA1-3D24BC9BAF58}" type="presParOf" srcId="{936829B1-D24C-4093-813B-D4C003B68BBA}" destId="{AB39E5E1-7C9B-4D70-99D0-9511560B3FB9}" srcOrd="0" destOrd="0" presId="urn:microsoft.com/office/officeart/2016/7/layout/RepeatingBendingProcessNew"/>
    <dgm:cxn modelId="{59092D1D-2860-4C87-B32C-02BB47C43FDF}" type="presParOf" srcId="{4CDE9AEC-19DE-428B-A696-FAFE275A908A}" destId="{24FCDCD6-FEA1-4A86-810B-0B67034F949F}" srcOrd="2" destOrd="0" presId="urn:microsoft.com/office/officeart/2016/7/layout/RepeatingBendingProcessNew"/>
    <dgm:cxn modelId="{344CC99E-7C0A-4B9F-BB10-8717B672630E}" type="presParOf" srcId="{4CDE9AEC-19DE-428B-A696-FAFE275A908A}" destId="{71A4F39F-1D72-4D3F-828D-E106BF1E7588}" srcOrd="3" destOrd="0" presId="urn:microsoft.com/office/officeart/2016/7/layout/RepeatingBendingProcessNew"/>
    <dgm:cxn modelId="{E2BFD737-EC76-4F76-B860-84E02167068A}" type="presParOf" srcId="{71A4F39F-1D72-4D3F-828D-E106BF1E7588}" destId="{AD5F0367-85A7-4681-B5D5-2119004E37C4}" srcOrd="0" destOrd="0" presId="urn:microsoft.com/office/officeart/2016/7/layout/RepeatingBendingProcessNew"/>
    <dgm:cxn modelId="{29073593-0986-4C59-B384-FB9BE764461B}" type="presParOf" srcId="{4CDE9AEC-19DE-428B-A696-FAFE275A908A}" destId="{F187B572-6CE6-4B82-A0B7-77BCF4700580}" srcOrd="4" destOrd="0" presId="urn:microsoft.com/office/officeart/2016/7/layout/RepeatingBendingProcessNew"/>
    <dgm:cxn modelId="{E54B1883-F2B9-4077-9FB4-27FA0E25AE63}" type="presParOf" srcId="{4CDE9AEC-19DE-428B-A696-FAFE275A908A}" destId="{87F326D6-C75B-4011-8E63-BA2A036CC968}" srcOrd="5" destOrd="0" presId="urn:microsoft.com/office/officeart/2016/7/layout/RepeatingBendingProcessNew"/>
    <dgm:cxn modelId="{92CFC3AC-823C-40E1-8A79-053FFCDA67AB}" type="presParOf" srcId="{87F326D6-C75B-4011-8E63-BA2A036CC968}" destId="{D3EB07DE-0CBC-4E55-8A0F-961462E1D8B1}" srcOrd="0" destOrd="0" presId="urn:microsoft.com/office/officeart/2016/7/layout/RepeatingBendingProcessNew"/>
    <dgm:cxn modelId="{97B0FBA2-E4D8-4884-9AFD-38D357B4AE7F}" type="presParOf" srcId="{4CDE9AEC-19DE-428B-A696-FAFE275A908A}" destId="{D3AFD476-E3FE-48C9-A4A2-8E9ACC4BAA6A}" srcOrd="6" destOrd="0" presId="urn:microsoft.com/office/officeart/2016/7/layout/RepeatingBendingProcessNew"/>
    <dgm:cxn modelId="{D31DBDF0-7C8E-4DCE-94EA-6ABD1D9B4EB0}" type="presParOf" srcId="{4CDE9AEC-19DE-428B-A696-FAFE275A908A}" destId="{198A31ED-3662-4E45-9ECC-8D6A671E786F}" srcOrd="7" destOrd="0" presId="urn:microsoft.com/office/officeart/2016/7/layout/RepeatingBendingProcessNew"/>
    <dgm:cxn modelId="{EFFFAED5-7184-4E6D-9F07-A3D28EA18492}" type="presParOf" srcId="{198A31ED-3662-4E45-9ECC-8D6A671E786F}" destId="{F6411025-3F02-4A0C-B45D-79B64D679DDA}" srcOrd="0" destOrd="0" presId="urn:microsoft.com/office/officeart/2016/7/layout/RepeatingBendingProcessNew"/>
    <dgm:cxn modelId="{A482F34F-90F5-4CA3-9A37-B7DDCF1072E5}" type="presParOf" srcId="{4CDE9AEC-19DE-428B-A696-FAFE275A908A}" destId="{C5C451A5-65C3-44F8-BD2C-4F5095073DDC}" srcOrd="8" destOrd="0" presId="urn:microsoft.com/office/officeart/2016/7/layout/RepeatingBendingProcessNew"/>
    <dgm:cxn modelId="{E445FAF8-D9F3-40CB-9460-077EAF4B2E8D}" type="presParOf" srcId="{4CDE9AEC-19DE-428B-A696-FAFE275A908A}" destId="{D3201D7D-1D46-4682-BE46-6E0F7343EDDD}" srcOrd="9" destOrd="0" presId="urn:microsoft.com/office/officeart/2016/7/layout/RepeatingBendingProcessNew"/>
    <dgm:cxn modelId="{1383BDBD-C3BE-4EAC-BA9C-1B8B5210D4DD}" type="presParOf" srcId="{D3201D7D-1D46-4682-BE46-6E0F7343EDDD}" destId="{31E3333E-BEFA-4438-B1D6-46ED6A639C0D}" srcOrd="0" destOrd="0" presId="urn:microsoft.com/office/officeart/2016/7/layout/RepeatingBendingProcessNew"/>
    <dgm:cxn modelId="{D3E905E5-1F65-464B-B652-27E466442244}" type="presParOf" srcId="{4CDE9AEC-19DE-428B-A696-FAFE275A908A}" destId="{70DD7747-DE61-4FE7-8F8D-B847E38B93BE}" srcOrd="10" destOrd="0" presId="urn:microsoft.com/office/officeart/2016/7/layout/RepeatingBendingProcessNew"/>
    <dgm:cxn modelId="{3DC95004-614F-42D3-B1E6-ADCA7855F887}" type="presParOf" srcId="{4CDE9AEC-19DE-428B-A696-FAFE275A908A}" destId="{5C6BDD36-1759-4A0B-89D4-651AFF289C90}" srcOrd="11" destOrd="0" presId="urn:microsoft.com/office/officeart/2016/7/layout/RepeatingBendingProcessNew"/>
    <dgm:cxn modelId="{4760D7D1-23D6-4E23-8F49-20013BBA0D2E}" type="presParOf" srcId="{5C6BDD36-1759-4A0B-89D4-651AFF289C90}" destId="{F592481E-4352-4ED7-AA4B-27F2AA3F7FAC}" srcOrd="0" destOrd="0" presId="urn:microsoft.com/office/officeart/2016/7/layout/RepeatingBendingProcessNew"/>
    <dgm:cxn modelId="{B6055FDD-F883-4512-B1A4-8A17357E31EB}" type="presParOf" srcId="{4CDE9AEC-19DE-428B-A696-FAFE275A908A}" destId="{E88F0E95-B7B0-482B-A77D-F380BFB4DB04}" srcOrd="12" destOrd="0" presId="urn:microsoft.com/office/officeart/2016/7/layout/RepeatingBendingProcessNew"/>
    <dgm:cxn modelId="{B709B2C0-A617-436C-A289-F0770E8CAD9E}" type="presParOf" srcId="{4CDE9AEC-19DE-428B-A696-FAFE275A908A}" destId="{9EA05A57-2DC8-45C3-B732-B34D8706047B}" srcOrd="13" destOrd="0" presId="urn:microsoft.com/office/officeart/2016/7/layout/RepeatingBendingProcessNew"/>
    <dgm:cxn modelId="{350EB837-2312-4081-B95E-7F66337C148B}" type="presParOf" srcId="{9EA05A57-2DC8-45C3-B732-B34D8706047B}" destId="{DFB98814-4D87-435D-BF07-20761B2DB203}" srcOrd="0" destOrd="0" presId="urn:microsoft.com/office/officeart/2016/7/layout/RepeatingBendingProcessNew"/>
    <dgm:cxn modelId="{545AA179-CCB3-48F9-89EA-F8D5E46B839F}" type="presParOf" srcId="{4CDE9AEC-19DE-428B-A696-FAFE275A908A}" destId="{DDC826D6-26CD-47FF-89A1-F57B768C2FC3}" srcOrd="14"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1EED242-8C70-4F18-8C33-5209D95BC5EA}" type="doc">
      <dgm:prSet loTypeId="urn:microsoft.com/office/officeart/2005/8/layout/default" loCatId="list" qsTypeId="urn:microsoft.com/office/officeart/2005/8/quickstyle/simple4" qsCatId="simple" csTypeId="urn:microsoft.com/office/officeart/2005/8/colors/colorful2" csCatId="colorful"/>
      <dgm:spPr/>
      <dgm:t>
        <a:bodyPr/>
        <a:lstStyle/>
        <a:p>
          <a:endParaRPr lang="en-US"/>
        </a:p>
      </dgm:t>
    </dgm:pt>
    <dgm:pt modelId="{3014A9A8-D518-4F9F-8CD5-1DA8F7C286D3}">
      <dgm:prSet/>
      <dgm:spPr/>
      <dgm:t>
        <a:bodyPr/>
        <a:lstStyle/>
        <a:p>
          <a:r>
            <a:rPr lang="en-US"/>
            <a:t>Teaching and Learning Content Standards</a:t>
          </a:r>
        </a:p>
      </dgm:t>
    </dgm:pt>
    <dgm:pt modelId="{8ED8B87A-885B-4C42-ADEC-C30225C78F97}" type="parTrans" cxnId="{3E5992BB-8142-427F-82ED-954D19E39F03}">
      <dgm:prSet/>
      <dgm:spPr/>
      <dgm:t>
        <a:bodyPr/>
        <a:lstStyle/>
        <a:p>
          <a:endParaRPr lang="en-US"/>
        </a:p>
      </dgm:t>
    </dgm:pt>
    <dgm:pt modelId="{FB2BFB83-B3F4-4FA0-9770-EE29EA046455}" type="sibTrans" cxnId="{3E5992BB-8142-427F-82ED-954D19E39F03}">
      <dgm:prSet/>
      <dgm:spPr/>
      <dgm:t>
        <a:bodyPr/>
        <a:lstStyle/>
        <a:p>
          <a:endParaRPr lang="en-US"/>
        </a:p>
      </dgm:t>
    </dgm:pt>
    <dgm:pt modelId="{9EFADD7C-025D-4A40-8C4B-6F99A7904265}">
      <dgm:prSet/>
      <dgm:spPr/>
      <dgm:t>
        <a:bodyPr/>
        <a:lstStyle/>
        <a:p>
          <a:r>
            <a:rPr lang="en-US"/>
            <a:t>CTSO</a:t>
          </a:r>
        </a:p>
      </dgm:t>
    </dgm:pt>
    <dgm:pt modelId="{1CCF37EE-0286-4F21-B74B-0F6989C21662}" type="parTrans" cxnId="{382A2F7B-0C2C-4C04-B1AC-4B69982FEABD}">
      <dgm:prSet/>
      <dgm:spPr/>
      <dgm:t>
        <a:bodyPr/>
        <a:lstStyle/>
        <a:p>
          <a:endParaRPr lang="en-US"/>
        </a:p>
      </dgm:t>
    </dgm:pt>
    <dgm:pt modelId="{56CE1139-BEC3-46F0-9979-6125C2B532C5}" type="sibTrans" cxnId="{382A2F7B-0C2C-4C04-B1AC-4B69982FEABD}">
      <dgm:prSet/>
      <dgm:spPr/>
      <dgm:t>
        <a:bodyPr/>
        <a:lstStyle/>
        <a:p>
          <a:endParaRPr lang="en-US"/>
        </a:p>
      </dgm:t>
    </dgm:pt>
    <dgm:pt modelId="{FFF2E98D-5D53-4206-8421-065871AD74DF}">
      <dgm:prSet/>
      <dgm:spPr/>
      <dgm:t>
        <a:bodyPr/>
        <a:lstStyle/>
        <a:p>
          <a:r>
            <a:rPr lang="en-US"/>
            <a:t>Work Based Learning</a:t>
          </a:r>
        </a:p>
      </dgm:t>
    </dgm:pt>
    <dgm:pt modelId="{184BA163-A68C-48EC-99A9-1CD72F234872}" type="parTrans" cxnId="{F4B49A21-8C5D-4378-B51F-3B92F35DA1D4}">
      <dgm:prSet/>
      <dgm:spPr/>
      <dgm:t>
        <a:bodyPr/>
        <a:lstStyle/>
        <a:p>
          <a:endParaRPr lang="en-US"/>
        </a:p>
      </dgm:t>
    </dgm:pt>
    <dgm:pt modelId="{B1220442-698C-48E4-A305-77957B2F41C0}" type="sibTrans" cxnId="{F4B49A21-8C5D-4378-B51F-3B92F35DA1D4}">
      <dgm:prSet/>
      <dgm:spPr/>
      <dgm:t>
        <a:bodyPr/>
        <a:lstStyle/>
        <a:p>
          <a:endParaRPr lang="en-US"/>
        </a:p>
      </dgm:t>
    </dgm:pt>
    <dgm:pt modelId="{7588CF12-1F7E-47B9-8532-62C5D46BC04E}">
      <dgm:prSet/>
      <dgm:spPr/>
      <dgm:t>
        <a:bodyPr/>
        <a:lstStyle/>
        <a:p>
          <a:r>
            <a:rPr lang="en-US"/>
            <a:t>Industry Recognized Credentials</a:t>
          </a:r>
        </a:p>
      </dgm:t>
    </dgm:pt>
    <dgm:pt modelId="{6A19AE76-EB5D-4C60-AE91-34A13F7B34BD}" type="parTrans" cxnId="{1AD29401-6869-4D78-A44A-F96E9ADF2C4E}">
      <dgm:prSet/>
      <dgm:spPr/>
      <dgm:t>
        <a:bodyPr/>
        <a:lstStyle/>
        <a:p>
          <a:endParaRPr lang="en-US"/>
        </a:p>
      </dgm:t>
    </dgm:pt>
    <dgm:pt modelId="{70164D42-8397-45A5-8BED-DCD2B1D0CADC}" type="sibTrans" cxnId="{1AD29401-6869-4D78-A44A-F96E9ADF2C4E}">
      <dgm:prSet/>
      <dgm:spPr/>
      <dgm:t>
        <a:bodyPr/>
        <a:lstStyle/>
        <a:p>
          <a:endParaRPr lang="en-US"/>
        </a:p>
      </dgm:t>
    </dgm:pt>
    <dgm:pt modelId="{2FD7E2FB-6BBC-40F1-AE80-CE87E3B7C4A1}">
      <dgm:prSet/>
      <dgm:spPr/>
      <dgm:t>
        <a:bodyPr/>
        <a:lstStyle/>
        <a:p>
          <a:r>
            <a:rPr lang="en-US"/>
            <a:t>Points system</a:t>
          </a:r>
        </a:p>
      </dgm:t>
    </dgm:pt>
    <dgm:pt modelId="{8B490F81-E54D-474C-BEFD-16F911991220}" type="parTrans" cxnId="{6BFE3012-D17E-4B1A-B436-158833B9E228}">
      <dgm:prSet/>
      <dgm:spPr/>
      <dgm:t>
        <a:bodyPr/>
        <a:lstStyle/>
        <a:p>
          <a:endParaRPr lang="en-US"/>
        </a:p>
      </dgm:t>
    </dgm:pt>
    <dgm:pt modelId="{0D1E9423-258E-421C-AC61-8C38265CF2EF}" type="sibTrans" cxnId="{6BFE3012-D17E-4B1A-B436-158833B9E228}">
      <dgm:prSet/>
      <dgm:spPr/>
      <dgm:t>
        <a:bodyPr/>
        <a:lstStyle/>
        <a:p>
          <a:endParaRPr lang="en-US"/>
        </a:p>
      </dgm:t>
    </dgm:pt>
    <dgm:pt modelId="{4A36C664-709E-4129-A193-9BC46E266D49}">
      <dgm:prSet/>
      <dgm:spPr/>
      <dgm:t>
        <a:bodyPr/>
        <a:lstStyle/>
        <a:p>
          <a:r>
            <a:rPr lang="en-US"/>
            <a:t>College Credit</a:t>
          </a:r>
        </a:p>
      </dgm:t>
    </dgm:pt>
    <dgm:pt modelId="{51A8213C-7F04-40FB-90AB-24C82992E4D4}" type="parTrans" cxnId="{5CA99E13-3AA5-41DC-B6AA-385CA7897881}">
      <dgm:prSet/>
      <dgm:spPr/>
      <dgm:t>
        <a:bodyPr/>
        <a:lstStyle/>
        <a:p>
          <a:endParaRPr lang="en-US"/>
        </a:p>
      </dgm:t>
    </dgm:pt>
    <dgm:pt modelId="{954084A4-F55E-4ED9-ABEB-24CF1019487C}" type="sibTrans" cxnId="{5CA99E13-3AA5-41DC-B6AA-385CA7897881}">
      <dgm:prSet/>
      <dgm:spPr/>
      <dgm:t>
        <a:bodyPr/>
        <a:lstStyle/>
        <a:p>
          <a:endParaRPr lang="en-US"/>
        </a:p>
      </dgm:t>
    </dgm:pt>
    <dgm:pt modelId="{D5910030-1103-40BE-B55F-0456DAEB5FA5}">
      <dgm:prSet/>
      <dgm:spPr/>
      <dgm:t>
        <a:bodyPr/>
        <a:lstStyle/>
        <a:p>
          <a:r>
            <a:rPr lang="en-US"/>
            <a:t>CTAG – ITAG</a:t>
          </a:r>
        </a:p>
      </dgm:t>
    </dgm:pt>
    <dgm:pt modelId="{7011DB7D-6EC5-4C96-B5FB-EABBEF0E80A5}" type="parTrans" cxnId="{E4F66FD2-8F00-491F-9C51-3DB7B0F1E544}">
      <dgm:prSet/>
      <dgm:spPr/>
      <dgm:t>
        <a:bodyPr/>
        <a:lstStyle/>
        <a:p>
          <a:endParaRPr lang="en-US"/>
        </a:p>
      </dgm:t>
    </dgm:pt>
    <dgm:pt modelId="{B502B54A-1535-4DAE-A1EF-922606E49202}" type="sibTrans" cxnId="{E4F66FD2-8F00-491F-9C51-3DB7B0F1E544}">
      <dgm:prSet/>
      <dgm:spPr/>
      <dgm:t>
        <a:bodyPr/>
        <a:lstStyle/>
        <a:p>
          <a:endParaRPr lang="en-US"/>
        </a:p>
      </dgm:t>
    </dgm:pt>
    <dgm:pt modelId="{9B1D6A24-7194-45DF-B15A-3FE55FF3F5AF}">
      <dgm:prSet/>
      <dgm:spPr/>
      <dgm:t>
        <a:bodyPr/>
        <a:lstStyle/>
        <a:p>
          <a:r>
            <a:rPr lang="en-US"/>
            <a:t>CCP</a:t>
          </a:r>
        </a:p>
      </dgm:t>
    </dgm:pt>
    <dgm:pt modelId="{86953935-0DAA-4AE4-A26E-D4F1E9EFD8BE}" type="parTrans" cxnId="{73186827-51C8-4315-A0E0-D71F30F04AA1}">
      <dgm:prSet/>
      <dgm:spPr/>
      <dgm:t>
        <a:bodyPr/>
        <a:lstStyle/>
        <a:p>
          <a:endParaRPr lang="en-US"/>
        </a:p>
      </dgm:t>
    </dgm:pt>
    <dgm:pt modelId="{76D2DFF0-A92D-4AEA-8FDE-EEEFBDAE453A}" type="sibTrans" cxnId="{73186827-51C8-4315-A0E0-D71F30F04AA1}">
      <dgm:prSet/>
      <dgm:spPr/>
      <dgm:t>
        <a:bodyPr/>
        <a:lstStyle/>
        <a:p>
          <a:endParaRPr lang="en-US"/>
        </a:p>
      </dgm:t>
    </dgm:pt>
    <dgm:pt modelId="{E357C43F-F4DA-4C01-84D3-2C436C232FD8}">
      <dgm:prSet/>
      <dgm:spPr/>
      <dgm:t>
        <a:bodyPr/>
        <a:lstStyle/>
        <a:p>
          <a:r>
            <a:rPr lang="en-US"/>
            <a:t>Articulated/Bilateral </a:t>
          </a:r>
        </a:p>
      </dgm:t>
    </dgm:pt>
    <dgm:pt modelId="{EFF9F4EB-1E14-475A-9773-24CE6FA09B55}" type="parTrans" cxnId="{D42F1F7C-6C91-4C27-B598-2D1D0B93F49C}">
      <dgm:prSet/>
      <dgm:spPr/>
      <dgm:t>
        <a:bodyPr/>
        <a:lstStyle/>
        <a:p>
          <a:endParaRPr lang="en-US"/>
        </a:p>
      </dgm:t>
    </dgm:pt>
    <dgm:pt modelId="{D35692B4-C7A3-45D0-B19A-9E668FAEFFCE}" type="sibTrans" cxnId="{D42F1F7C-6C91-4C27-B598-2D1D0B93F49C}">
      <dgm:prSet/>
      <dgm:spPr/>
      <dgm:t>
        <a:bodyPr/>
        <a:lstStyle/>
        <a:p>
          <a:endParaRPr lang="en-US"/>
        </a:p>
      </dgm:t>
    </dgm:pt>
    <dgm:pt modelId="{16554784-F523-4922-B373-CB3BBCB3E260}">
      <dgm:prSet/>
      <dgm:spPr/>
      <dgm:t>
        <a:bodyPr/>
        <a:lstStyle/>
        <a:p>
          <a:r>
            <a:rPr lang="en-US"/>
            <a:t>Credit Flex</a:t>
          </a:r>
        </a:p>
      </dgm:t>
    </dgm:pt>
    <dgm:pt modelId="{9F1A3D06-F79C-44AC-8E02-45A0934470B1}" type="parTrans" cxnId="{0949E931-6E93-4AAA-BA4C-A2CBF2430C14}">
      <dgm:prSet/>
      <dgm:spPr/>
      <dgm:t>
        <a:bodyPr/>
        <a:lstStyle/>
        <a:p>
          <a:endParaRPr lang="en-US"/>
        </a:p>
      </dgm:t>
    </dgm:pt>
    <dgm:pt modelId="{15705306-052A-4DD5-9D98-EB797CA7F1C2}" type="sibTrans" cxnId="{0949E931-6E93-4AAA-BA4C-A2CBF2430C14}">
      <dgm:prSet/>
      <dgm:spPr/>
      <dgm:t>
        <a:bodyPr/>
        <a:lstStyle/>
        <a:p>
          <a:endParaRPr lang="en-US"/>
        </a:p>
      </dgm:t>
    </dgm:pt>
    <dgm:pt modelId="{4D345B22-2E26-4ECA-8C79-0AF22BD0C9D2}">
      <dgm:prSet/>
      <dgm:spPr/>
      <dgm:t>
        <a:bodyPr/>
        <a:lstStyle/>
        <a:p>
          <a:r>
            <a:rPr lang="en-US"/>
            <a:t>Complementary Academics</a:t>
          </a:r>
        </a:p>
      </dgm:t>
    </dgm:pt>
    <dgm:pt modelId="{4374D285-77D0-49A6-A056-9CDD2328E2F5}" type="parTrans" cxnId="{D1AFA929-5FF2-4E4C-BA23-5414B5F00CD9}">
      <dgm:prSet/>
      <dgm:spPr/>
      <dgm:t>
        <a:bodyPr/>
        <a:lstStyle/>
        <a:p>
          <a:endParaRPr lang="en-US"/>
        </a:p>
      </dgm:t>
    </dgm:pt>
    <dgm:pt modelId="{8660785B-72B8-4AC1-9D5B-F3FE3FE5E920}" type="sibTrans" cxnId="{D1AFA929-5FF2-4E4C-BA23-5414B5F00CD9}">
      <dgm:prSet/>
      <dgm:spPr/>
      <dgm:t>
        <a:bodyPr/>
        <a:lstStyle/>
        <a:p>
          <a:endParaRPr lang="en-US"/>
        </a:p>
      </dgm:t>
    </dgm:pt>
    <dgm:pt modelId="{07AE14F8-67D1-4EB8-BBAD-0530679F34A3}" type="pres">
      <dgm:prSet presAssocID="{E1EED242-8C70-4F18-8C33-5209D95BC5EA}" presName="diagram" presStyleCnt="0">
        <dgm:presLayoutVars>
          <dgm:dir/>
          <dgm:resizeHandles val="exact"/>
        </dgm:presLayoutVars>
      </dgm:prSet>
      <dgm:spPr/>
    </dgm:pt>
    <dgm:pt modelId="{3EE26883-E7E8-4CD1-9DE1-5D3715619C36}" type="pres">
      <dgm:prSet presAssocID="{3014A9A8-D518-4F9F-8CD5-1DA8F7C286D3}" presName="node" presStyleLbl="node1" presStyleIdx="0" presStyleCnt="7">
        <dgm:presLayoutVars>
          <dgm:bulletEnabled val="1"/>
        </dgm:presLayoutVars>
      </dgm:prSet>
      <dgm:spPr/>
    </dgm:pt>
    <dgm:pt modelId="{0C2AC836-8969-46E1-82E2-9FA0E8E2E353}" type="pres">
      <dgm:prSet presAssocID="{FB2BFB83-B3F4-4FA0-9770-EE29EA046455}" presName="sibTrans" presStyleCnt="0"/>
      <dgm:spPr/>
    </dgm:pt>
    <dgm:pt modelId="{34FDE534-B064-4ABD-A73B-6F25C62DBC37}" type="pres">
      <dgm:prSet presAssocID="{9EFADD7C-025D-4A40-8C4B-6F99A7904265}" presName="node" presStyleLbl="node1" presStyleIdx="1" presStyleCnt="7">
        <dgm:presLayoutVars>
          <dgm:bulletEnabled val="1"/>
        </dgm:presLayoutVars>
      </dgm:prSet>
      <dgm:spPr/>
    </dgm:pt>
    <dgm:pt modelId="{C0952587-7F83-41D8-826F-2B2FCD434660}" type="pres">
      <dgm:prSet presAssocID="{56CE1139-BEC3-46F0-9979-6125C2B532C5}" presName="sibTrans" presStyleCnt="0"/>
      <dgm:spPr/>
    </dgm:pt>
    <dgm:pt modelId="{82456403-DB15-4124-AC85-F1CBB3C659F3}" type="pres">
      <dgm:prSet presAssocID="{FFF2E98D-5D53-4206-8421-065871AD74DF}" presName="node" presStyleLbl="node1" presStyleIdx="2" presStyleCnt="7">
        <dgm:presLayoutVars>
          <dgm:bulletEnabled val="1"/>
        </dgm:presLayoutVars>
      </dgm:prSet>
      <dgm:spPr/>
    </dgm:pt>
    <dgm:pt modelId="{B80F890F-5873-42CA-A6D1-723926F554EB}" type="pres">
      <dgm:prSet presAssocID="{B1220442-698C-48E4-A305-77957B2F41C0}" presName="sibTrans" presStyleCnt="0"/>
      <dgm:spPr/>
    </dgm:pt>
    <dgm:pt modelId="{8D526F4B-4D41-4C1B-BDD8-2D7C20A4D0F7}" type="pres">
      <dgm:prSet presAssocID="{7588CF12-1F7E-47B9-8532-62C5D46BC04E}" presName="node" presStyleLbl="node1" presStyleIdx="3" presStyleCnt="7">
        <dgm:presLayoutVars>
          <dgm:bulletEnabled val="1"/>
        </dgm:presLayoutVars>
      </dgm:prSet>
      <dgm:spPr/>
    </dgm:pt>
    <dgm:pt modelId="{8EF3DA80-CDE0-4776-A756-B0413FA5392E}" type="pres">
      <dgm:prSet presAssocID="{70164D42-8397-45A5-8BED-DCD2B1D0CADC}" presName="sibTrans" presStyleCnt="0"/>
      <dgm:spPr/>
    </dgm:pt>
    <dgm:pt modelId="{7830AC48-7B4B-46B4-8CA9-CF292817AE56}" type="pres">
      <dgm:prSet presAssocID="{4A36C664-709E-4129-A193-9BC46E266D49}" presName="node" presStyleLbl="node1" presStyleIdx="4" presStyleCnt="7">
        <dgm:presLayoutVars>
          <dgm:bulletEnabled val="1"/>
        </dgm:presLayoutVars>
      </dgm:prSet>
      <dgm:spPr/>
    </dgm:pt>
    <dgm:pt modelId="{1B51C392-0FA0-4A41-A6CD-FEB39F563870}" type="pres">
      <dgm:prSet presAssocID="{954084A4-F55E-4ED9-ABEB-24CF1019487C}" presName="sibTrans" presStyleCnt="0"/>
      <dgm:spPr/>
    </dgm:pt>
    <dgm:pt modelId="{3BBD452D-D26E-4E96-A492-4CABD20B252D}" type="pres">
      <dgm:prSet presAssocID="{16554784-F523-4922-B373-CB3BBCB3E260}" presName="node" presStyleLbl="node1" presStyleIdx="5" presStyleCnt="7">
        <dgm:presLayoutVars>
          <dgm:bulletEnabled val="1"/>
        </dgm:presLayoutVars>
      </dgm:prSet>
      <dgm:spPr/>
    </dgm:pt>
    <dgm:pt modelId="{E0646C74-7BB3-467C-AC34-418A7E8B2805}" type="pres">
      <dgm:prSet presAssocID="{15705306-052A-4DD5-9D98-EB797CA7F1C2}" presName="sibTrans" presStyleCnt="0"/>
      <dgm:spPr/>
    </dgm:pt>
    <dgm:pt modelId="{5AE4969B-AECA-48B9-AD3B-C7F30B3B5652}" type="pres">
      <dgm:prSet presAssocID="{4D345B22-2E26-4ECA-8C79-0AF22BD0C9D2}" presName="node" presStyleLbl="node1" presStyleIdx="6" presStyleCnt="7">
        <dgm:presLayoutVars>
          <dgm:bulletEnabled val="1"/>
        </dgm:presLayoutVars>
      </dgm:prSet>
      <dgm:spPr/>
    </dgm:pt>
  </dgm:ptLst>
  <dgm:cxnLst>
    <dgm:cxn modelId="{E45C7400-7F46-4D5B-9625-54A2381D82BA}" type="presOf" srcId="{E357C43F-F4DA-4C01-84D3-2C436C232FD8}" destId="{7830AC48-7B4B-46B4-8CA9-CF292817AE56}" srcOrd="0" destOrd="3" presId="urn:microsoft.com/office/officeart/2005/8/layout/default"/>
    <dgm:cxn modelId="{1AD29401-6869-4D78-A44A-F96E9ADF2C4E}" srcId="{E1EED242-8C70-4F18-8C33-5209D95BC5EA}" destId="{7588CF12-1F7E-47B9-8532-62C5D46BC04E}" srcOrd="3" destOrd="0" parTransId="{6A19AE76-EB5D-4C60-AE91-34A13F7B34BD}" sibTransId="{70164D42-8397-45A5-8BED-DCD2B1D0CADC}"/>
    <dgm:cxn modelId="{2AAF0D03-4E41-445F-A2C4-5CCA0043818E}" type="presOf" srcId="{3014A9A8-D518-4F9F-8CD5-1DA8F7C286D3}" destId="{3EE26883-E7E8-4CD1-9DE1-5D3715619C36}" srcOrd="0" destOrd="0" presId="urn:microsoft.com/office/officeart/2005/8/layout/default"/>
    <dgm:cxn modelId="{7F5AAB03-B412-46AB-BB6E-5013D703EDAB}" type="presOf" srcId="{FFF2E98D-5D53-4206-8421-065871AD74DF}" destId="{82456403-DB15-4124-AC85-F1CBB3C659F3}" srcOrd="0" destOrd="0" presId="urn:microsoft.com/office/officeart/2005/8/layout/default"/>
    <dgm:cxn modelId="{A7A6B804-01D9-4819-A32C-A278469D4F03}" type="presOf" srcId="{16554784-F523-4922-B373-CB3BBCB3E260}" destId="{3BBD452D-D26E-4E96-A492-4CABD20B252D}" srcOrd="0" destOrd="0" presId="urn:microsoft.com/office/officeart/2005/8/layout/default"/>
    <dgm:cxn modelId="{A2AFB007-A777-4927-9B84-E689DB5C2640}" type="presOf" srcId="{4A36C664-709E-4129-A193-9BC46E266D49}" destId="{7830AC48-7B4B-46B4-8CA9-CF292817AE56}" srcOrd="0" destOrd="0" presId="urn:microsoft.com/office/officeart/2005/8/layout/default"/>
    <dgm:cxn modelId="{7FFA730B-4931-4737-A2FE-FF93BC21E873}" type="presOf" srcId="{7588CF12-1F7E-47B9-8532-62C5D46BC04E}" destId="{8D526F4B-4D41-4C1B-BDD8-2D7C20A4D0F7}" srcOrd="0" destOrd="0" presId="urn:microsoft.com/office/officeart/2005/8/layout/default"/>
    <dgm:cxn modelId="{6BFE3012-D17E-4B1A-B436-158833B9E228}" srcId="{7588CF12-1F7E-47B9-8532-62C5D46BC04E}" destId="{2FD7E2FB-6BBC-40F1-AE80-CE87E3B7C4A1}" srcOrd="0" destOrd="0" parTransId="{8B490F81-E54D-474C-BEFD-16F911991220}" sibTransId="{0D1E9423-258E-421C-AC61-8C38265CF2EF}"/>
    <dgm:cxn modelId="{5CA99E13-3AA5-41DC-B6AA-385CA7897881}" srcId="{E1EED242-8C70-4F18-8C33-5209D95BC5EA}" destId="{4A36C664-709E-4129-A193-9BC46E266D49}" srcOrd="4" destOrd="0" parTransId="{51A8213C-7F04-40FB-90AB-24C82992E4D4}" sibTransId="{954084A4-F55E-4ED9-ABEB-24CF1019487C}"/>
    <dgm:cxn modelId="{F4B49A21-8C5D-4378-B51F-3B92F35DA1D4}" srcId="{E1EED242-8C70-4F18-8C33-5209D95BC5EA}" destId="{FFF2E98D-5D53-4206-8421-065871AD74DF}" srcOrd="2" destOrd="0" parTransId="{184BA163-A68C-48EC-99A9-1CD72F234872}" sibTransId="{B1220442-698C-48E4-A305-77957B2F41C0}"/>
    <dgm:cxn modelId="{73186827-51C8-4315-A0E0-D71F30F04AA1}" srcId="{4A36C664-709E-4129-A193-9BC46E266D49}" destId="{9B1D6A24-7194-45DF-B15A-3FE55FF3F5AF}" srcOrd="1" destOrd="0" parTransId="{86953935-0DAA-4AE4-A26E-D4F1E9EFD8BE}" sibTransId="{76D2DFF0-A92D-4AEA-8FDE-EEEFBDAE453A}"/>
    <dgm:cxn modelId="{D1AFA929-5FF2-4E4C-BA23-5414B5F00CD9}" srcId="{E1EED242-8C70-4F18-8C33-5209D95BC5EA}" destId="{4D345B22-2E26-4ECA-8C79-0AF22BD0C9D2}" srcOrd="6" destOrd="0" parTransId="{4374D285-77D0-49A6-A056-9CDD2328E2F5}" sibTransId="{8660785B-72B8-4AC1-9D5B-F3FE3FE5E920}"/>
    <dgm:cxn modelId="{0949E931-6E93-4AAA-BA4C-A2CBF2430C14}" srcId="{E1EED242-8C70-4F18-8C33-5209D95BC5EA}" destId="{16554784-F523-4922-B373-CB3BBCB3E260}" srcOrd="5" destOrd="0" parTransId="{9F1A3D06-F79C-44AC-8E02-45A0934470B1}" sibTransId="{15705306-052A-4DD5-9D98-EB797CA7F1C2}"/>
    <dgm:cxn modelId="{A9CFAD39-D78B-4F6B-932D-A6FE8A1771F1}" type="presOf" srcId="{9B1D6A24-7194-45DF-B15A-3FE55FF3F5AF}" destId="{7830AC48-7B4B-46B4-8CA9-CF292817AE56}" srcOrd="0" destOrd="2" presId="urn:microsoft.com/office/officeart/2005/8/layout/default"/>
    <dgm:cxn modelId="{8A8D3369-5064-437C-AA8A-D038159DA4A3}" type="presOf" srcId="{D5910030-1103-40BE-B55F-0456DAEB5FA5}" destId="{7830AC48-7B4B-46B4-8CA9-CF292817AE56}" srcOrd="0" destOrd="1" presId="urn:microsoft.com/office/officeart/2005/8/layout/default"/>
    <dgm:cxn modelId="{6A114076-DC88-4F97-9D36-38867D445CE0}" type="presOf" srcId="{4D345B22-2E26-4ECA-8C79-0AF22BD0C9D2}" destId="{5AE4969B-AECA-48B9-AD3B-C7F30B3B5652}" srcOrd="0" destOrd="0" presId="urn:microsoft.com/office/officeart/2005/8/layout/default"/>
    <dgm:cxn modelId="{382A2F7B-0C2C-4C04-B1AC-4B69982FEABD}" srcId="{E1EED242-8C70-4F18-8C33-5209D95BC5EA}" destId="{9EFADD7C-025D-4A40-8C4B-6F99A7904265}" srcOrd="1" destOrd="0" parTransId="{1CCF37EE-0286-4F21-B74B-0F6989C21662}" sibTransId="{56CE1139-BEC3-46F0-9979-6125C2B532C5}"/>
    <dgm:cxn modelId="{D42F1F7C-6C91-4C27-B598-2D1D0B93F49C}" srcId="{4A36C664-709E-4129-A193-9BC46E266D49}" destId="{E357C43F-F4DA-4C01-84D3-2C436C232FD8}" srcOrd="2" destOrd="0" parTransId="{EFF9F4EB-1E14-475A-9773-24CE6FA09B55}" sibTransId="{D35692B4-C7A3-45D0-B19A-9E668FAEFFCE}"/>
    <dgm:cxn modelId="{C5C62AB4-0A75-4157-A965-8F805B53CCFD}" type="presOf" srcId="{E1EED242-8C70-4F18-8C33-5209D95BC5EA}" destId="{07AE14F8-67D1-4EB8-BBAD-0530679F34A3}" srcOrd="0" destOrd="0" presId="urn:microsoft.com/office/officeart/2005/8/layout/default"/>
    <dgm:cxn modelId="{3E5992BB-8142-427F-82ED-954D19E39F03}" srcId="{E1EED242-8C70-4F18-8C33-5209D95BC5EA}" destId="{3014A9A8-D518-4F9F-8CD5-1DA8F7C286D3}" srcOrd="0" destOrd="0" parTransId="{8ED8B87A-885B-4C42-ADEC-C30225C78F97}" sibTransId="{FB2BFB83-B3F4-4FA0-9770-EE29EA046455}"/>
    <dgm:cxn modelId="{E4F66FD2-8F00-491F-9C51-3DB7B0F1E544}" srcId="{4A36C664-709E-4129-A193-9BC46E266D49}" destId="{D5910030-1103-40BE-B55F-0456DAEB5FA5}" srcOrd="0" destOrd="0" parTransId="{7011DB7D-6EC5-4C96-B5FB-EABBEF0E80A5}" sibTransId="{B502B54A-1535-4DAE-A1EF-922606E49202}"/>
    <dgm:cxn modelId="{E957BCD3-ACB5-48BB-8255-B1DC3BED5791}" type="presOf" srcId="{9EFADD7C-025D-4A40-8C4B-6F99A7904265}" destId="{34FDE534-B064-4ABD-A73B-6F25C62DBC37}" srcOrd="0" destOrd="0" presId="urn:microsoft.com/office/officeart/2005/8/layout/default"/>
    <dgm:cxn modelId="{C67D36F0-84EC-4C43-9F3C-105044E37D84}" type="presOf" srcId="{2FD7E2FB-6BBC-40F1-AE80-CE87E3B7C4A1}" destId="{8D526F4B-4D41-4C1B-BDD8-2D7C20A4D0F7}" srcOrd="0" destOrd="1" presId="urn:microsoft.com/office/officeart/2005/8/layout/default"/>
    <dgm:cxn modelId="{73B66CAD-A424-49FB-BEA0-9C3EDDE4C5D5}" type="presParOf" srcId="{07AE14F8-67D1-4EB8-BBAD-0530679F34A3}" destId="{3EE26883-E7E8-4CD1-9DE1-5D3715619C36}" srcOrd="0" destOrd="0" presId="urn:microsoft.com/office/officeart/2005/8/layout/default"/>
    <dgm:cxn modelId="{CE28E309-13F5-44CE-B4E6-7AFCB6733F24}" type="presParOf" srcId="{07AE14F8-67D1-4EB8-BBAD-0530679F34A3}" destId="{0C2AC836-8969-46E1-82E2-9FA0E8E2E353}" srcOrd="1" destOrd="0" presId="urn:microsoft.com/office/officeart/2005/8/layout/default"/>
    <dgm:cxn modelId="{87CC3B28-87CC-4C9E-9E20-2B27F980926D}" type="presParOf" srcId="{07AE14F8-67D1-4EB8-BBAD-0530679F34A3}" destId="{34FDE534-B064-4ABD-A73B-6F25C62DBC37}" srcOrd="2" destOrd="0" presId="urn:microsoft.com/office/officeart/2005/8/layout/default"/>
    <dgm:cxn modelId="{FDC2386F-9B24-45BC-80D5-E6C17BC6F8A9}" type="presParOf" srcId="{07AE14F8-67D1-4EB8-BBAD-0530679F34A3}" destId="{C0952587-7F83-41D8-826F-2B2FCD434660}" srcOrd="3" destOrd="0" presId="urn:microsoft.com/office/officeart/2005/8/layout/default"/>
    <dgm:cxn modelId="{A1C91A89-B729-46DB-A8BD-9328663D2B63}" type="presParOf" srcId="{07AE14F8-67D1-4EB8-BBAD-0530679F34A3}" destId="{82456403-DB15-4124-AC85-F1CBB3C659F3}" srcOrd="4" destOrd="0" presId="urn:microsoft.com/office/officeart/2005/8/layout/default"/>
    <dgm:cxn modelId="{41BB3497-A81C-4545-88B5-E6B6DFF33C0B}" type="presParOf" srcId="{07AE14F8-67D1-4EB8-BBAD-0530679F34A3}" destId="{B80F890F-5873-42CA-A6D1-723926F554EB}" srcOrd="5" destOrd="0" presId="urn:microsoft.com/office/officeart/2005/8/layout/default"/>
    <dgm:cxn modelId="{1B986B30-673F-4B18-A34D-C951898C0F32}" type="presParOf" srcId="{07AE14F8-67D1-4EB8-BBAD-0530679F34A3}" destId="{8D526F4B-4D41-4C1B-BDD8-2D7C20A4D0F7}" srcOrd="6" destOrd="0" presId="urn:microsoft.com/office/officeart/2005/8/layout/default"/>
    <dgm:cxn modelId="{BFD5A62B-7EC0-49FF-A527-8CF5B3918843}" type="presParOf" srcId="{07AE14F8-67D1-4EB8-BBAD-0530679F34A3}" destId="{8EF3DA80-CDE0-4776-A756-B0413FA5392E}" srcOrd="7" destOrd="0" presId="urn:microsoft.com/office/officeart/2005/8/layout/default"/>
    <dgm:cxn modelId="{CE74086C-CB11-45E7-B0CB-0F87B67A1443}" type="presParOf" srcId="{07AE14F8-67D1-4EB8-BBAD-0530679F34A3}" destId="{7830AC48-7B4B-46B4-8CA9-CF292817AE56}" srcOrd="8" destOrd="0" presId="urn:microsoft.com/office/officeart/2005/8/layout/default"/>
    <dgm:cxn modelId="{21636120-555F-4DE6-9BB8-08792AFF13A3}" type="presParOf" srcId="{07AE14F8-67D1-4EB8-BBAD-0530679F34A3}" destId="{1B51C392-0FA0-4A41-A6CD-FEB39F563870}" srcOrd="9" destOrd="0" presId="urn:microsoft.com/office/officeart/2005/8/layout/default"/>
    <dgm:cxn modelId="{600C4985-80D4-471F-A2F4-27114FB703DB}" type="presParOf" srcId="{07AE14F8-67D1-4EB8-BBAD-0530679F34A3}" destId="{3BBD452D-D26E-4E96-A492-4CABD20B252D}" srcOrd="10" destOrd="0" presId="urn:microsoft.com/office/officeart/2005/8/layout/default"/>
    <dgm:cxn modelId="{7DF8EBCE-177D-4414-8D11-A21FDD5D46B8}" type="presParOf" srcId="{07AE14F8-67D1-4EB8-BBAD-0530679F34A3}" destId="{E0646C74-7BB3-467C-AC34-418A7E8B2805}" srcOrd="11" destOrd="0" presId="urn:microsoft.com/office/officeart/2005/8/layout/default"/>
    <dgm:cxn modelId="{DB50E809-C13E-40D3-8A44-5268C1CAAA1B}" type="presParOf" srcId="{07AE14F8-67D1-4EB8-BBAD-0530679F34A3}" destId="{5AE4969B-AECA-48B9-AD3B-C7F30B3B5652}"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3BF345B-2361-42F3-9142-B5F38BE77748}"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B1F9EC7A-E1B5-4650-8A43-9928B75726FE}">
      <dgm:prSet/>
      <dgm:spPr/>
      <dgm:t>
        <a:bodyPr/>
        <a:lstStyle/>
        <a:p>
          <a:pPr>
            <a:lnSpc>
              <a:spcPct val="100000"/>
            </a:lnSpc>
          </a:pPr>
          <a:r>
            <a:rPr lang="en-US"/>
            <a:t>State Share</a:t>
          </a:r>
        </a:p>
      </dgm:t>
    </dgm:pt>
    <dgm:pt modelId="{8E13A6E2-5210-4961-B8BA-90571576A5A7}" type="parTrans" cxnId="{A06C9301-76C0-48B5-9704-C01E1C6E2DE6}">
      <dgm:prSet/>
      <dgm:spPr/>
      <dgm:t>
        <a:bodyPr/>
        <a:lstStyle/>
        <a:p>
          <a:endParaRPr lang="en-US"/>
        </a:p>
      </dgm:t>
    </dgm:pt>
    <dgm:pt modelId="{F923DB6B-2DAF-4298-B17B-D32C80723133}" type="sibTrans" cxnId="{A06C9301-76C0-48B5-9704-C01E1C6E2DE6}">
      <dgm:prSet/>
      <dgm:spPr/>
      <dgm:t>
        <a:bodyPr/>
        <a:lstStyle/>
        <a:p>
          <a:endParaRPr lang="en-US"/>
        </a:p>
      </dgm:t>
    </dgm:pt>
    <dgm:pt modelId="{A38D815F-F27C-4EF0-8D05-507724E8C4E7}">
      <dgm:prSet/>
      <dgm:spPr/>
      <dgm:t>
        <a:bodyPr/>
        <a:lstStyle/>
        <a:p>
          <a:pPr>
            <a:lnSpc>
              <a:spcPct val="100000"/>
            </a:lnSpc>
          </a:pPr>
          <a:r>
            <a:rPr lang="en-US"/>
            <a:t>Local Property Taxes</a:t>
          </a:r>
        </a:p>
      </dgm:t>
    </dgm:pt>
    <dgm:pt modelId="{E1B7AAC2-8275-43CB-816A-82D5F4C870A3}" type="parTrans" cxnId="{B8707022-CA8C-4D95-BA0C-0C151BC7E3F0}">
      <dgm:prSet/>
      <dgm:spPr/>
      <dgm:t>
        <a:bodyPr/>
        <a:lstStyle/>
        <a:p>
          <a:endParaRPr lang="en-US"/>
        </a:p>
      </dgm:t>
    </dgm:pt>
    <dgm:pt modelId="{74288D99-53AF-4E38-8F3A-EEA2BE39CFAD}" type="sibTrans" cxnId="{B8707022-CA8C-4D95-BA0C-0C151BC7E3F0}">
      <dgm:prSet/>
      <dgm:spPr/>
      <dgm:t>
        <a:bodyPr/>
        <a:lstStyle/>
        <a:p>
          <a:endParaRPr lang="en-US"/>
        </a:p>
      </dgm:t>
    </dgm:pt>
    <dgm:pt modelId="{FB9DAF8D-C859-48FE-AFC8-538EE5B8B2D1}">
      <dgm:prSet/>
      <dgm:spPr/>
      <dgm:t>
        <a:bodyPr/>
        <a:lstStyle/>
        <a:p>
          <a:pPr>
            <a:lnSpc>
              <a:spcPct val="100000"/>
            </a:lnSpc>
          </a:pPr>
          <a:r>
            <a:rPr lang="en-US"/>
            <a:t>Perkins V</a:t>
          </a:r>
        </a:p>
      </dgm:t>
    </dgm:pt>
    <dgm:pt modelId="{436A5762-8B67-46EB-8CCD-E3A29C8DBE06}" type="parTrans" cxnId="{C8D47671-3D5D-4C3A-A153-F121507CBBC9}">
      <dgm:prSet/>
      <dgm:spPr/>
      <dgm:t>
        <a:bodyPr/>
        <a:lstStyle/>
        <a:p>
          <a:endParaRPr lang="en-US"/>
        </a:p>
      </dgm:t>
    </dgm:pt>
    <dgm:pt modelId="{80297F88-D6DF-4800-9C36-FD32D27591B1}" type="sibTrans" cxnId="{C8D47671-3D5D-4C3A-A153-F121507CBBC9}">
      <dgm:prSet/>
      <dgm:spPr/>
      <dgm:t>
        <a:bodyPr/>
        <a:lstStyle/>
        <a:p>
          <a:endParaRPr lang="en-US"/>
        </a:p>
      </dgm:t>
    </dgm:pt>
    <dgm:pt modelId="{630C534B-F745-425F-B8BE-927634C1C6DE}">
      <dgm:prSet/>
      <dgm:spPr/>
      <dgm:t>
        <a:bodyPr/>
        <a:lstStyle/>
        <a:p>
          <a:pPr>
            <a:lnSpc>
              <a:spcPct val="100000"/>
            </a:lnSpc>
          </a:pPr>
          <a:r>
            <a:rPr lang="en-US"/>
            <a:t>Equity</a:t>
          </a:r>
        </a:p>
      </dgm:t>
    </dgm:pt>
    <dgm:pt modelId="{1DAAAF28-D7F0-4C3F-98C9-DA9E5B665EB7}" type="parTrans" cxnId="{2DCEA37F-133D-4F21-8D55-3994FBF05A34}">
      <dgm:prSet/>
      <dgm:spPr/>
      <dgm:t>
        <a:bodyPr/>
        <a:lstStyle/>
        <a:p>
          <a:endParaRPr lang="en-US"/>
        </a:p>
      </dgm:t>
    </dgm:pt>
    <dgm:pt modelId="{95578C71-DC57-4E71-856D-AB4AD07FAB9F}" type="sibTrans" cxnId="{2DCEA37F-133D-4F21-8D55-3994FBF05A34}">
      <dgm:prSet/>
      <dgm:spPr/>
      <dgm:t>
        <a:bodyPr/>
        <a:lstStyle/>
        <a:p>
          <a:endParaRPr lang="en-US"/>
        </a:p>
      </dgm:t>
    </dgm:pt>
    <dgm:pt modelId="{047C656A-5C0F-48E1-A66E-3C8B71F6A881}">
      <dgm:prSet/>
      <dgm:spPr/>
      <dgm:t>
        <a:bodyPr/>
        <a:lstStyle/>
        <a:p>
          <a:pPr>
            <a:lnSpc>
              <a:spcPct val="100000"/>
            </a:lnSpc>
          </a:pPr>
          <a:r>
            <a:rPr lang="en-US"/>
            <a:t>New programs</a:t>
          </a:r>
        </a:p>
      </dgm:t>
    </dgm:pt>
    <dgm:pt modelId="{BF1748D0-4D06-4596-9520-D423E994E2E2}" type="parTrans" cxnId="{CDCAE88C-CA7D-4616-B028-7E5FD63F27C7}">
      <dgm:prSet/>
      <dgm:spPr/>
      <dgm:t>
        <a:bodyPr/>
        <a:lstStyle/>
        <a:p>
          <a:endParaRPr lang="en-US"/>
        </a:p>
      </dgm:t>
    </dgm:pt>
    <dgm:pt modelId="{3061665C-4908-4274-A09F-E6A591DB1DF5}" type="sibTrans" cxnId="{CDCAE88C-CA7D-4616-B028-7E5FD63F27C7}">
      <dgm:prSet/>
      <dgm:spPr/>
      <dgm:t>
        <a:bodyPr/>
        <a:lstStyle/>
        <a:p>
          <a:endParaRPr lang="en-US"/>
        </a:p>
      </dgm:t>
    </dgm:pt>
    <dgm:pt modelId="{C630A20F-7038-402B-9A7E-ADFAFCCEDA66}">
      <dgm:prSet/>
      <dgm:spPr/>
      <dgm:t>
        <a:bodyPr/>
        <a:lstStyle/>
        <a:p>
          <a:pPr>
            <a:lnSpc>
              <a:spcPct val="100000"/>
            </a:lnSpc>
          </a:pPr>
          <a:r>
            <a:rPr lang="en-US"/>
            <a:t>Grants</a:t>
          </a:r>
        </a:p>
      </dgm:t>
    </dgm:pt>
    <dgm:pt modelId="{653F67FD-EE0F-404F-A63E-FB0C1B421805}" type="parTrans" cxnId="{1370AD6D-2A65-47B9-9A86-E9FDA88914CA}">
      <dgm:prSet/>
      <dgm:spPr/>
      <dgm:t>
        <a:bodyPr/>
        <a:lstStyle/>
        <a:p>
          <a:endParaRPr lang="en-US"/>
        </a:p>
      </dgm:t>
    </dgm:pt>
    <dgm:pt modelId="{4BBC91E3-84D3-4BED-BEB3-E4A7B44BBA50}" type="sibTrans" cxnId="{1370AD6D-2A65-47B9-9A86-E9FDA88914CA}">
      <dgm:prSet/>
      <dgm:spPr/>
      <dgm:t>
        <a:bodyPr/>
        <a:lstStyle/>
        <a:p>
          <a:endParaRPr lang="en-US"/>
        </a:p>
      </dgm:t>
    </dgm:pt>
    <dgm:pt modelId="{5885C168-110E-4BE5-A8C8-AC26EEA285A3}">
      <dgm:prSet/>
      <dgm:spPr/>
      <dgm:t>
        <a:bodyPr/>
        <a:lstStyle/>
        <a:p>
          <a:pPr>
            <a:lnSpc>
              <a:spcPct val="100000"/>
            </a:lnSpc>
          </a:pPr>
          <a:r>
            <a:rPr lang="en-US"/>
            <a:t>Business Support</a:t>
          </a:r>
        </a:p>
      </dgm:t>
    </dgm:pt>
    <dgm:pt modelId="{6A95E500-1DCE-426F-94BD-CD899B6B678E}" type="parTrans" cxnId="{A11096DD-64D9-4B34-BB02-999B1219F037}">
      <dgm:prSet/>
      <dgm:spPr/>
      <dgm:t>
        <a:bodyPr/>
        <a:lstStyle/>
        <a:p>
          <a:endParaRPr lang="en-US"/>
        </a:p>
      </dgm:t>
    </dgm:pt>
    <dgm:pt modelId="{48D991E9-C181-422A-BFA6-E628D6892B96}" type="sibTrans" cxnId="{A11096DD-64D9-4B34-BB02-999B1219F037}">
      <dgm:prSet/>
      <dgm:spPr/>
      <dgm:t>
        <a:bodyPr/>
        <a:lstStyle/>
        <a:p>
          <a:endParaRPr lang="en-US"/>
        </a:p>
      </dgm:t>
    </dgm:pt>
    <dgm:pt modelId="{9005FF07-314E-41E9-A0E7-5E708965B485}" type="pres">
      <dgm:prSet presAssocID="{93BF345B-2361-42F3-9142-B5F38BE77748}" presName="root" presStyleCnt="0">
        <dgm:presLayoutVars>
          <dgm:dir/>
          <dgm:resizeHandles val="exact"/>
        </dgm:presLayoutVars>
      </dgm:prSet>
      <dgm:spPr/>
    </dgm:pt>
    <dgm:pt modelId="{156DA621-4F2B-4889-9D2F-099298AB7644}" type="pres">
      <dgm:prSet presAssocID="{B1F9EC7A-E1B5-4650-8A43-9928B75726FE}" presName="compNode" presStyleCnt="0"/>
      <dgm:spPr/>
    </dgm:pt>
    <dgm:pt modelId="{7E915775-2B66-4EAD-B461-A846D8DE3AF1}" type="pres">
      <dgm:prSet presAssocID="{B1F9EC7A-E1B5-4650-8A43-9928B75726FE}" presName="bgRect" presStyleLbl="bgShp" presStyleIdx="0" presStyleCnt="5"/>
      <dgm:spPr/>
    </dgm:pt>
    <dgm:pt modelId="{9374A59F-276F-4C2C-9FF0-E6D7613918D3}" type="pres">
      <dgm:prSet presAssocID="{B1F9EC7A-E1B5-4650-8A43-9928B75726FE}"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
        </a:ext>
      </dgm:extLst>
    </dgm:pt>
    <dgm:pt modelId="{99F55294-C271-475C-80CB-1BDCDDE02DEF}" type="pres">
      <dgm:prSet presAssocID="{B1F9EC7A-E1B5-4650-8A43-9928B75726FE}" presName="spaceRect" presStyleCnt="0"/>
      <dgm:spPr/>
    </dgm:pt>
    <dgm:pt modelId="{E3F6C028-8D77-4CD8-A4F2-D50BDE5D89F5}" type="pres">
      <dgm:prSet presAssocID="{B1F9EC7A-E1B5-4650-8A43-9928B75726FE}" presName="parTx" presStyleLbl="revTx" presStyleIdx="0" presStyleCnt="6">
        <dgm:presLayoutVars>
          <dgm:chMax val="0"/>
          <dgm:chPref val="0"/>
        </dgm:presLayoutVars>
      </dgm:prSet>
      <dgm:spPr/>
    </dgm:pt>
    <dgm:pt modelId="{40EBE786-9715-4CA4-984A-86BDDAD7BA65}" type="pres">
      <dgm:prSet presAssocID="{F923DB6B-2DAF-4298-B17B-D32C80723133}" presName="sibTrans" presStyleCnt="0"/>
      <dgm:spPr/>
    </dgm:pt>
    <dgm:pt modelId="{BFD53B57-09BD-49A3-9AB7-8D31B8587BDA}" type="pres">
      <dgm:prSet presAssocID="{A38D815F-F27C-4EF0-8D05-507724E8C4E7}" presName="compNode" presStyleCnt="0"/>
      <dgm:spPr/>
    </dgm:pt>
    <dgm:pt modelId="{F2F2C921-788C-4720-B3BD-8040A72EA58A}" type="pres">
      <dgm:prSet presAssocID="{A38D815F-F27C-4EF0-8D05-507724E8C4E7}" presName="bgRect" presStyleLbl="bgShp" presStyleIdx="1" presStyleCnt="5"/>
      <dgm:spPr/>
    </dgm:pt>
    <dgm:pt modelId="{DFCA3D5B-6AD7-4FC1-A40E-11C672AF8866}" type="pres">
      <dgm:prSet presAssocID="{A38D815F-F27C-4EF0-8D05-507724E8C4E7}"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ouse"/>
        </a:ext>
      </dgm:extLst>
    </dgm:pt>
    <dgm:pt modelId="{C71A012B-DCAE-4978-9E2C-84A582152E6B}" type="pres">
      <dgm:prSet presAssocID="{A38D815F-F27C-4EF0-8D05-507724E8C4E7}" presName="spaceRect" presStyleCnt="0"/>
      <dgm:spPr/>
    </dgm:pt>
    <dgm:pt modelId="{3DB0B466-2DAB-43B5-8F13-97F335E24A34}" type="pres">
      <dgm:prSet presAssocID="{A38D815F-F27C-4EF0-8D05-507724E8C4E7}" presName="parTx" presStyleLbl="revTx" presStyleIdx="1" presStyleCnt="6">
        <dgm:presLayoutVars>
          <dgm:chMax val="0"/>
          <dgm:chPref val="0"/>
        </dgm:presLayoutVars>
      </dgm:prSet>
      <dgm:spPr/>
    </dgm:pt>
    <dgm:pt modelId="{D7409EA8-8E3C-4113-AB62-90168F162E10}" type="pres">
      <dgm:prSet presAssocID="{74288D99-53AF-4E38-8F3A-EEA2BE39CFAD}" presName="sibTrans" presStyleCnt="0"/>
      <dgm:spPr/>
    </dgm:pt>
    <dgm:pt modelId="{B05AAF1B-A705-44B0-9D07-2661E3A2A484}" type="pres">
      <dgm:prSet presAssocID="{FB9DAF8D-C859-48FE-AFC8-538EE5B8B2D1}" presName="compNode" presStyleCnt="0"/>
      <dgm:spPr/>
    </dgm:pt>
    <dgm:pt modelId="{B502EDF3-8927-4B3B-AB39-00C492DF1902}" type="pres">
      <dgm:prSet presAssocID="{FB9DAF8D-C859-48FE-AFC8-538EE5B8B2D1}" presName="bgRect" presStyleLbl="bgShp" presStyleIdx="2" presStyleCnt="5"/>
      <dgm:spPr/>
    </dgm:pt>
    <dgm:pt modelId="{AD686C6E-533B-417B-B46C-0206351EDD71}" type="pres">
      <dgm:prSet presAssocID="{FB9DAF8D-C859-48FE-AFC8-538EE5B8B2D1}"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andshake"/>
        </a:ext>
      </dgm:extLst>
    </dgm:pt>
    <dgm:pt modelId="{0E41DDF2-1E8A-4A67-979E-6692FAD1C6E8}" type="pres">
      <dgm:prSet presAssocID="{FB9DAF8D-C859-48FE-AFC8-538EE5B8B2D1}" presName="spaceRect" presStyleCnt="0"/>
      <dgm:spPr/>
    </dgm:pt>
    <dgm:pt modelId="{0B7040FA-FED1-4BC0-A44C-36EAB72A6426}" type="pres">
      <dgm:prSet presAssocID="{FB9DAF8D-C859-48FE-AFC8-538EE5B8B2D1}" presName="parTx" presStyleLbl="revTx" presStyleIdx="2" presStyleCnt="6">
        <dgm:presLayoutVars>
          <dgm:chMax val="0"/>
          <dgm:chPref val="0"/>
        </dgm:presLayoutVars>
      </dgm:prSet>
      <dgm:spPr/>
    </dgm:pt>
    <dgm:pt modelId="{1E7FF9DA-E052-450A-B3FF-827456D09042}" type="pres">
      <dgm:prSet presAssocID="{FB9DAF8D-C859-48FE-AFC8-538EE5B8B2D1}" presName="desTx" presStyleLbl="revTx" presStyleIdx="3" presStyleCnt="6">
        <dgm:presLayoutVars/>
      </dgm:prSet>
      <dgm:spPr/>
    </dgm:pt>
    <dgm:pt modelId="{48B81AA1-F0E0-49DA-9F97-08FB09265605}" type="pres">
      <dgm:prSet presAssocID="{80297F88-D6DF-4800-9C36-FD32D27591B1}" presName="sibTrans" presStyleCnt="0"/>
      <dgm:spPr/>
    </dgm:pt>
    <dgm:pt modelId="{109CB3FE-C0A1-458B-9B2B-7C6A78AA9C4D}" type="pres">
      <dgm:prSet presAssocID="{C630A20F-7038-402B-9A7E-ADFAFCCEDA66}" presName="compNode" presStyleCnt="0"/>
      <dgm:spPr/>
    </dgm:pt>
    <dgm:pt modelId="{6B0FD2E9-AAD6-4E5F-A519-09438976BD25}" type="pres">
      <dgm:prSet presAssocID="{C630A20F-7038-402B-9A7E-ADFAFCCEDA66}" presName="bgRect" presStyleLbl="bgShp" presStyleIdx="3" presStyleCnt="5"/>
      <dgm:spPr/>
    </dgm:pt>
    <dgm:pt modelId="{13BB4953-5774-4062-A533-567E990F4B74}" type="pres">
      <dgm:prSet presAssocID="{C630A20F-7038-402B-9A7E-ADFAFCCEDA66}"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oney"/>
        </a:ext>
      </dgm:extLst>
    </dgm:pt>
    <dgm:pt modelId="{B1267F97-2528-4485-BE88-1D64D20F9230}" type="pres">
      <dgm:prSet presAssocID="{C630A20F-7038-402B-9A7E-ADFAFCCEDA66}" presName="spaceRect" presStyleCnt="0"/>
      <dgm:spPr/>
    </dgm:pt>
    <dgm:pt modelId="{43E0F42C-8F46-401E-842E-CDE0D760FC61}" type="pres">
      <dgm:prSet presAssocID="{C630A20F-7038-402B-9A7E-ADFAFCCEDA66}" presName="parTx" presStyleLbl="revTx" presStyleIdx="4" presStyleCnt="6">
        <dgm:presLayoutVars>
          <dgm:chMax val="0"/>
          <dgm:chPref val="0"/>
        </dgm:presLayoutVars>
      </dgm:prSet>
      <dgm:spPr/>
    </dgm:pt>
    <dgm:pt modelId="{912EFAB1-46A8-41D4-91B3-74F67EED7770}" type="pres">
      <dgm:prSet presAssocID="{4BBC91E3-84D3-4BED-BEB3-E4A7B44BBA50}" presName="sibTrans" presStyleCnt="0"/>
      <dgm:spPr/>
    </dgm:pt>
    <dgm:pt modelId="{58266C74-2025-4CEE-8B39-4963CA797922}" type="pres">
      <dgm:prSet presAssocID="{5885C168-110E-4BE5-A8C8-AC26EEA285A3}" presName="compNode" presStyleCnt="0"/>
      <dgm:spPr/>
    </dgm:pt>
    <dgm:pt modelId="{669110C4-6C0B-4E01-BF26-AC344B06F854}" type="pres">
      <dgm:prSet presAssocID="{5885C168-110E-4BE5-A8C8-AC26EEA285A3}" presName="bgRect" presStyleLbl="bgShp" presStyleIdx="4" presStyleCnt="5"/>
      <dgm:spPr/>
    </dgm:pt>
    <dgm:pt modelId="{2DB0B560-06E3-4982-AF1D-BD81484DB70D}" type="pres">
      <dgm:prSet presAssocID="{5885C168-110E-4BE5-A8C8-AC26EEA285A3}"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all center"/>
        </a:ext>
      </dgm:extLst>
    </dgm:pt>
    <dgm:pt modelId="{F5CD8B0B-B919-4396-9F01-59969DBC63A8}" type="pres">
      <dgm:prSet presAssocID="{5885C168-110E-4BE5-A8C8-AC26EEA285A3}" presName="spaceRect" presStyleCnt="0"/>
      <dgm:spPr/>
    </dgm:pt>
    <dgm:pt modelId="{518E716F-4508-4859-A876-8797A71EB956}" type="pres">
      <dgm:prSet presAssocID="{5885C168-110E-4BE5-A8C8-AC26EEA285A3}" presName="parTx" presStyleLbl="revTx" presStyleIdx="5" presStyleCnt="6">
        <dgm:presLayoutVars>
          <dgm:chMax val="0"/>
          <dgm:chPref val="0"/>
        </dgm:presLayoutVars>
      </dgm:prSet>
      <dgm:spPr/>
    </dgm:pt>
  </dgm:ptLst>
  <dgm:cxnLst>
    <dgm:cxn modelId="{A06C9301-76C0-48B5-9704-C01E1C6E2DE6}" srcId="{93BF345B-2361-42F3-9142-B5F38BE77748}" destId="{B1F9EC7A-E1B5-4650-8A43-9928B75726FE}" srcOrd="0" destOrd="0" parTransId="{8E13A6E2-5210-4961-B8BA-90571576A5A7}" sibTransId="{F923DB6B-2DAF-4298-B17B-D32C80723133}"/>
    <dgm:cxn modelId="{B8707022-CA8C-4D95-BA0C-0C151BC7E3F0}" srcId="{93BF345B-2361-42F3-9142-B5F38BE77748}" destId="{A38D815F-F27C-4EF0-8D05-507724E8C4E7}" srcOrd="1" destOrd="0" parTransId="{E1B7AAC2-8275-43CB-816A-82D5F4C870A3}" sibTransId="{74288D99-53AF-4E38-8F3A-EEA2BE39CFAD}"/>
    <dgm:cxn modelId="{8B0A9024-AF84-4480-BE90-A9C0CF763B03}" type="presOf" srcId="{A38D815F-F27C-4EF0-8D05-507724E8C4E7}" destId="{3DB0B466-2DAB-43B5-8F13-97F335E24A34}" srcOrd="0" destOrd="0" presId="urn:microsoft.com/office/officeart/2018/2/layout/IconVerticalSolidList"/>
    <dgm:cxn modelId="{1370AD6D-2A65-47B9-9A86-E9FDA88914CA}" srcId="{93BF345B-2361-42F3-9142-B5F38BE77748}" destId="{C630A20F-7038-402B-9A7E-ADFAFCCEDA66}" srcOrd="3" destOrd="0" parTransId="{653F67FD-EE0F-404F-A63E-FB0C1B421805}" sibTransId="{4BBC91E3-84D3-4BED-BEB3-E4A7B44BBA50}"/>
    <dgm:cxn modelId="{C8D47671-3D5D-4C3A-A153-F121507CBBC9}" srcId="{93BF345B-2361-42F3-9142-B5F38BE77748}" destId="{FB9DAF8D-C859-48FE-AFC8-538EE5B8B2D1}" srcOrd="2" destOrd="0" parTransId="{436A5762-8B67-46EB-8CCD-E3A29C8DBE06}" sibTransId="{80297F88-D6DF-4800-9C36-FD32D27591B1}"/>
    <dgm:cxn modelId="{336DFA7E-A17E-4BBC-8E1A-90851CCF856B}" type="presOf" srcId="{5885C168-110E-4BE5-A8C8-AC26EEA285A3}" destId="{518E716F-4508-4859-A876-8797A71EB956}" srcOrd="0" destOrd="0" presId="urn:microsoft.com/office/officeart/2018/2/layout/IconVerticalSolidList"/>
    <dgm:cxn modelId="{2DCEA37F-133D-4F21-8D55-3994FBF05A34}" srcId="{FB9DAF8D-C859-48FE-AFC8-538EE5B8B2D1}" destId="{630C534B-F745-425F-B8BE-927634C1C6DE}" srcOrd="0" destOrd="0" parTransId="{1DAAAF28-D7F0-4C3F-98C9-DA9E5B665EB7}" sibTransId="{95578C71-DC57-4E71-856D-AB4AD07FAB9F}"/>
    <dgm:cxn modelId="{CDCAE88C-CA7D-4616-B028-7E5FD63F27C7}" srcId="{FB9DAF8D-C859-48FE-AFC8-538EE5B8B2D1}" destId="{047C656A-5C0F-48E1-A66E-3C8B71F6A881}" srcOrd="1" destOrd="0" parTransId="{BF1748D0-4D06-4596-9520-D423E994E2E2}" sibTransId="{3061665C-4908-4274-A09F-E6A591DB1DF5}"/>
    <dgm:cxn modelId="{BA153FB7-84D1-4EB7-86A4-E8D80388AA84}" type="presOf" srcId="{FB9DAF8D-C859-48FE-AFC8-538EE5B8B2D1}" destId="{0B7040FA-FED1-4BC0-A44C-36EAB72A6426}" srcOrd="0" destOrd="0" presId="urn:microsoft.com/office/officeart/2018/2/layout/IconVerticalSolidList"/>
    <dgm:cxn modelId="{036F79C4-A28F-49FE-A95C-91BC6797FB91}" type="presOf" srcId="{C630A20F-7038-402B-9A7E-ADFAFCCEDA66}" destId="{43E0F42C-8F46-401E-842E-CDE0D760FC61}" srcOrd="0" destOrd="0" presId="urn:microsoft.com/office/officeart/2018/2/layout/IconVerticalSolidList"/>
    <dgm:cxn modelId="{254A0ACA-358E-4FF0-8FB8-AD6CBC455647}" type="presOf" srcId="{93BF345B-2361-42F3-9142-B5F38BE77748}" destId="{9005FF07-314E-41E9-A0E7-5E708965B485}" srcOrd="0" destOrd="0" presId="urn:microsoft.com/office/officeart/2018/2/layout/IconVerticalSolidList"/>
    <dgm:cxn modelId="{A11096DD-64D9-4B34-BB02-999B1219F037}" srcId="{93BF345B-2361-42F3-9142-B5F38BE77748}" destId="{5885C168-110E-4BE5-A8C8-AC26EEA285A3}" srcOrd="4" destOrd="0" parTransId="{6A95E500-1DCE-426F-94BD-CD899B6B678E}" sibTransId="{48D991E9-C181-422A-BFA6-E628D6892B96}"/>
    <dgm:cxn modelId="{415AF3E2-70C6-4231-9F38-7A72CD3522BD}" type="presOf" srcId="{B1F9EC7A-E1B5-4650-8A43-9928B75726FE}" destId="{E3F6C028-8D77-4CD8-A4F2-D50BDE5D89F5}" srcOrd="0" destOrd="0" presId="urn:microsoft.com/office/officeart/2018/2/layout/IconVerticalSolidList"/>
    <dgm:cxn modelId="{235B50F3-A704-453F-90BD-C85AA8E62DE7}" type="presOf" srcId="{047C656A-5C0F-48E1-A66E-3C8B71F6A881}" destId="{1E7FF9DA-E052-450A-B3FF-827456D09042}" srcOrd="0" destOrd="1" presId="urn:microsoft.com/office/officeart/2018/2/layout/IconVerticalSolidList"/>
    <dgm:cxn modelId="{6AE424FD-7973-4868-9672-298D83228F19}" type="presOf" srcId="{630C534B-F745-425F-B8BE-927634C1C6DE}" destId="{1E7FF9DA-E052-450A-B3FF-827456D09042}" srcOrd="0" destOrd="0" presId="urn:microsoft.com/office/officeart/2018/2/layout/IconVerticalSolidList"/>
    <dgm:cxn modelId="{EE3599BF-82F7-438D-BAA0-8AA5107621D4}" type="presParOf" srcId="{9005FF07-314E-41E9-A0E7-5E708965B485}" destId="{156DA621-4F2B-4889-9D2F-099298AB7644}" srcOrd="0" destOrd="0" presId="urn:microsoft.com/office/officeart/2018/2/layout/IconVerticalSolidList"/>
    <dgm:cxn modelId="{807A0B46-1655-4073-8D54-2D816A8685B3}" type="presParOf" srcId="{156DA621-4F2B-4889-9D2F-099298AB7644}" destId="{7E915775-2B66-4EAD-B461-A846D8DE3AF1}" srcOrd="0" destOrd="0" presId="urn:microsoft.com/office/officeart/2018/2/layout/IconVerticalSolidList"/>
    <dgm:cxn modelId="{B93A496B-67E5-4086-B5FB-BE1E450F62D2}" type="presParOf" srcId="{156DA621-4F2B-4889-9D2F-099298AB7644}" destId="{9374A59F-276F-4C2C-9FF0-E6D7613918D3}" srcOrd="1" destOrd="0" presId="urn:microsoft.com/office/officeart/2018/2/layout/IconVerticalSolidList"/>
    <dgm:cxn modelId="{AFEA2813-C817-4EF4-85B7-B69592DF323A}" type="presParOf" srcId="{156DA621-4F2B-4889-9D2F-099298AB7644}" destId="{99F55294-C271-475C-80CB-1BDCDDE02DEF}" srcOrd="2" destOrd="0" presId="urn:microsoft.com/office/officeart/2018/2/layout/IconVerticalSolidList"/>
    <dgm:cxn modelId="{8B09DC5E-9744-47DE-9394-B75D7D8BFA36}" type="presParOf" srcId="{156DA621-4F2B-4889-9D2F-099298AB7644}" destId="{E3F6C028-8D77-4CD8-A4F2-D50BDE5D89F5}" srcOrd="3" destOrd="0" presId="urn:microsoft.com/office/officeart/2018/2/layout/IconVerticalSolidList"/>
    <dgm:cxn modelId="{4513D7E1-4BEE-4290-AE14-702B6A17952B}" type="presParOf" srcId="{9005FF07-314E-41E9-A0E7-5E708965B485}" destId="{40EBE786-9715-4CA4-984A-86BDDAD7BA65}" srcOrd="1" destOrd="0" presId="urn:microsoft.com/office/officeart/2018/2/layout/IconVerticalSolidList"/>
    <dgm:cxn modelId="{B47466BA-B9B2-4150-ABDD-A72485835882}" type="presParOf" srcId="{9005FF07-314E-41E9-A0E7-5E708965B485}" destId="{BFD53B57-09BD-49A3-9AB7-8D31B8587BDA}" srcOrd="2" destOrd="0" presId="urn:microsoft.com/office/officeart/2018/2/layout/IconVerticalSolidList"/>
    <dgm:cxn modelId="{8855E8DE-8BDD-476A-BF3F-5FD6FF444A45}" type="presParOf" srcId="{BFD53B57-09BD-49A3-9AB7-8D31B8587BDA}" destId="{F2F2C921-788C-4720-B3BD-8040A72EA58A}" srcOrd="0" destOrd="0" presId="urn:microsoft.com/office/officeart/2018/2/layout/IconVerticalSolidList"/>
    <dgm:cxn modelId="{9A2ABBCE-2A33-4E5D-86D3-4C50CBB12E6B}" type="presParOf" srcId="{BFD53B57-09BD-49A3-9AB7-8D31B8587BDA}" destId="{DFCA3D5B-6AD7-4FC1-A40E-11C672AF8866}" srcOrd="1" destOrd="0" presId="urn:microsoft.com/office/officeart/2018/2/layout/IconVerticalSolidList"/>
    <dgm:cxn modelId="{7A8522CD-01BF-41E9-AE16-7AC8143941D4}" type="presParOf" srcId="{BFD53B57-09BD-49A3-9AB7-8D31B8587BDA}" destId="{C71A012B-DCAE-4978-9E2C-84A582152E6B}" srcOrd="2" destOrd="0" presId="urn:microsoft.com/office/officeart/2018/2/layout/IconVerticalSolidList"/>
    <dgm:cxn modelId="{168A45E0-8551-4014-90F9-F42AB84FB298}" type="presParOf" srcId="{BFD53B57-09BD-49A3-9AB7-8D31B8587BDA}" destId="{3DB0B466-2DAB-43B5-8F13-97F335E24A34}" srcOrd="3" destOrd="0" presId="urn:microsoft.com/office/officeart/2018/2/layout/IconVerticalSolidList"/>
    <dgm:cxn modelId="{3D6958C5-66D4-4DE7-A87B-59B804B5A891}" type="presParOf" srcId="{9005FF07-314E-41E9-A0E7-5E708965B485}" destId="{D7409EA8-8E3C-4113-AB62-90168F162E10}" srcOrd="3" destOrd="0" presId="urn:microsoft.com/office/officeart/2018/2/layout/IconVerticalSolidList"/>
    <dgm:cxn modelId="{AF30BC46-C5C1-4307-ADD0-B80C718A64FC}" type="presParOf" srcId="{9005FF07-314E-41E9-A0E7-5E708965B485}" destId="{B05AAF1B-A705-44B0-9D07-2661E3A2A484}" srcOrd="4" destOrd="0" presId="urn:microsoft.com/office/officeart/2018/2/layout/IconVerticalSolidList"/>
    <dgm:cxn modelId="{AFD110B6-B75A-43B0-B362-28D24D32DBF3}" type="presParOf" srcId="{B05AAF1B-A705-44B0-9D07-2661E3A2A484}" destId="{B502EDF3-8927-4B3B-AB39-00C492DF1902}" srcOrd="0" destOrd="0" presId="urn:microsoft.com/office/officeart/2018/2/layout/IconVerticalSolidList"/>
    <dgm:cxn modelId="{C4CA6BE7-BE98-4E7F-B199-E68158F789D7}" type="presParOf" srcId="{B05AAF1B-A705-44B0-9D07-2661E3A2A484}" destId="{AD686C6E-533B-417B-B46C-0206351EDD71}" srcOrd="1" destOrd="0" presId="urn:microsoft.com/office/officeart/2018/2/layout/IconVerticalSolidList"/>
    <dgm:cxn modelId="{9E44B6B7-9A98-4E89-9026-8644EF510620}" type="presParOf" srcId="{B05AAF1B-A705-44B0-9D07-2661E3A2A484}" destId="{0E41DDF2-1E8A-4A67-979E-6692FAD1C6E8}" srcOrd="2" destOrd="0" presId="urn:microsoft.com/office/officeart/2018/2/layout/IconVerticalSolidList"/>
    <dgm:cxn modelId="{AF73CA64-5BD3-43F4-959B-10988E82868F}" type="presParOf" srcId="{B05AAF1B-A705-44B0-9D07-2661E3A2A484}" destId="{0B7040FA-FED1-4BC0-A44C-36EAB72A6426}" srcOrd="3" destOrd="0" presId="urn:microsoft.com/office/officeart/2018/2/layout/IconVerticalSolidList"/>
    <dgm:cxn modelId="{A65AEF1A-0E3E-483C-B73B-49B1872D091F}" type="presParOf" srcId="{B05AAF1B-A705-44B0-9D07-2661E3A2A484}" destId="{1E7FF9DA-E052-450A-B3FF-827456D09042}" srcOrd="4" destOrd="0" presId="urn:microsoft.com/office/officeart/2018/2/layout/IconVerticalSolidList"/>
    <dgm:cxn modelId="{C2205BC6-0676-4724-B54C-C3E1D00202A2}" type="presParOf" srcId="{9005FF07-314E-41E9-A0E7-5E708965B485}" destId="{48B81AA1-F0E0-49DA-9F97-08FB09265605}" srcOrd="5" destOrd="0" presId="urn:microsoft.com/office/officeart/2018/2/layout/IconVerticalSolidList"/>
    <dgm:cxn modelId="{19978696-52C5-493D-A7C6-CD82056412FA}" type="presParOf" srcId="{9005FF07-314E-41E9-A0E7-5E708965B485}" destId="{109CB3FE-C0A1-458B-9B2B-7C6A78AA9C4D}" srcOrd="6" destOrd="0" presId="urn:microsoft.com/office/officeart/2018/2/layout/IconVerticalSolidList"/>
    <dgm:cxn modelId="{0DCAA069-D791-4269-A8E0-94DFF4625B9E}" type="presParOf" srcId="{109CB3FE-C0A1-458B-9B2B-7C6A78AA9C4D}" destId="{6B0FD2E9-AAD6-4E5F-A519-09438976BD25}" srcOrd="0" destOrd="0" presId="urn:microsoft.com/office/officeart/2018/2/layout/IconVerticalSolidList"/>
    <dgm:cxn modelId="{E3830371-B626-46F9-9E5A-3CD28D6DCDD8}" type="presParOf" srcId="{109CB3FE-C0A1-458B-9B2B-7C6A78AA9C4D}" destId="{13BB4953-5774-4062-A533-567E990F4B74}" srcOrd="1" destOrd="0" presId="urn:microsoft.com/office/officeart/2018/2/layout/IconVerticalSolidList"/>
    <dgm:cxn modelId="{17BE7505-BE6C-461D-9780-080B0BFBF34A}" type="presParOf" srcId="{109CB3FE-C0A1-458B-9B2B-7C6A78AA9C4D}" destId="{B1267F97-2528-4485-BE88-1D64D20F9230}" srcOrd="2" destOrd="0" presId="urn:microsoft.com/office/officeart/2018/2/layout/IconVerticalSolidList"/>
    <dgm:cxn modelId="{3433BCE9-ADBD-49B6-84FA-516A5D18A277}" type="presParOf" srcId="{109CB3FE-C0A1-458B-9B2B-7C6A78AA9C4D}" destId="{43E0F42C-8F46-401E-842E-CDE0D760FC61}" srcOrd="3" destOrd="0" presId="urn:microsoft.com/office/officeart/2018/2/layout/IconVerticalSolidList"/>
    <dgm:cxn modelId="{DD3057E3-1B2E-477D-A090-6DB632CA6A5A}" type="presParOf" srcId="{9005FF07-314E-41E9-A0E7-5E708965B485}" destId="{912EFAB1-46A8-41D4-91B3-74F67EED7770}" srcOrd="7" destOrd="0" presId="urn:microsoft.com/office/officeart/2018/2/layout/IconVerticalSolidList"/>
    <dgm:cxn modelId="{26E9B770-89F3-4301-B25F-E8B457B8B8B7}" type="presParOf" srcId="{9005FF07-314E-41E9-A0E7-5E708965B485}" destId="{58266C74-2025-4CEE-8B39-4963CA797922}" srcOrd="8" destOrd="0" presId="urn:microsoft.com/office/officeart/2018/2/layout/IconVerticalSolidList"/>
    <dgm:cxn modelId="{709AFA4F-C7BC-491E-A693-3E1619DDE731}" type="presParOf" srcId="{58266C74-2025-4CEE-8B39-4963CA797922}" destId="{669110C4-6C0B-4E01-BF26-AC344B06F854}" srcOrd="0" destOrd="0" presId="urn:microsoft.com/office/officeart/2018/2/layout/IconVerticalSolidList"/>
    <dgm:cxn modelId="{196DE490-B095-4D2C-8C22-5CC9BE7A0795}" type="presParOf" srcId="{58266C74-2025-4CEE-8B39-4963CA797922}" destId="{2DB0B560-06E3-4982-AF1D-BD81484DB70D}" srcOrd="1" destOrd="0" presId="urn:microsoft.com/office/officeart/2018/2/layout/IconVerticalSolidList"/>
    <dgm:cxn modelId="{73D5977D-56AB-4D78-8F7A-0140BAE4606C}" type="presParOf" srcId="{58266C74-2025-4CEE-8B39-4963CA797922}" destId="{F5CD8B0B-B919-4396-9F01-59969DBC63A8}" srcOrd="2" destOrd="0" presId="urn:microsoft.com/office/officeart/2018/2/layout/IconVerticalSolidList"/>
    <dgm:cxn modelId="{7280EDE6-EFF7-480B-8667-9AD3734DF7C8}" type="presParOf" srcId="{58266C74-2025-4CEE-8B39-4963CA797922}" destId="{518E716F-4508-4859-A876-8797A71EB956}"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9DD62A7-4EB8-4E35-9D0F-40074B5FD02E}" type="doc">
      <dgm:prSet loTypeId="urn:microsoft.com/office/officeart/2005/8/layout/hierarchy4" loCatId="hierarchy" qsTypeId="urn:microsoft.com/office/officeart/2005/8/quickstyle/simple2" qsCatId="simple" csTypeId="urn:microsoft.com/office/officeart/2005/8/colors/accent1_4" csCatId="accent1" phldr="1"/>
      <dgm:spPr/>
      <dgm:t>
        <a:bodyPr/>
        <a:lstStyle/>
        <a:p>
          <a:endParaRPr lang="en-US"/>
        </a:p>
      </dgm:t>
    </dgm:pt>
    <dgm:pt modelId="{12214842-BCD4-4485-8A3F-0E3C06E00EC8}">
      <dgm:prSet phldr="0"/>
      <dgm:spPr/>
      <dgm:t>
        <a:bodyPr/>
        <a:lstStyle/>
        <a:p>
          <a:pPr rtl="0"/>
          <a:r>
            <a:rPr lang="en-US" dirty="0">
              <a:latin typeface="Calibri Light" panose="020F0302020204030204"/>
            </a:rPr>
            <a:t>2024</a:t>
          </a:r>
          <a:r>
            <a:rPr lang="en-US" dirty="0"/>
            <a:t> Greene County Career Center</a:t>
          </a:r>
          <a:endParaRPr lang="en-US" dirty="0">
            <a:latin typeface="Calibri Light" panose="020F0302020204030204"/>
          </a:endParaRPr>
        </a:p>
      </dgm:t>
    </dgm:pt>
    <dgm:pt modelId="{AC17EE7F-22B9-4CCC-927D-A944089D018B}" type="parTrans" cxnId="{E6E4194D-6FED-4991-B07A-1FE86C362F59}">
      <dgm:prSet/>
      <dgm:spPr/>
    </dgm:pt>
    <dgm:pt modelId="{4ED98262-D2FF-40B1-A2B4-19F332DA079C}" type="sibTrans" cxnId="{E6E4194D-6FED-4991-B07A-1FE86C362F59}">
      <dgm:prSet/>
      <dgm:spPr/>
      <dgm:t>
        <a:bodyPr/>
        <a:lstStyle/>
        <a:p>
          <a:endParaRPr lang="en-US"/>
        </a:p>
      </dgm:t>
    </dgm:pt>
    <dgm:pt modelId="{23805AFF-F1C5-439C-8446-405FCFB57745}">
      <dgm:prSet phldr="0"/>
      <dgm:spPr/>
      <dgm:t>
        <a:bodyPr/>
        <a:lstStyle/>
        <a:p>
          <a:r>
            <a:rPr lang="en-US" dirty="0"/>
            <a:t>Main Campus</a:t>
          </a:r>
        </a:p>
      </dgm:t>
    </dgm:pt>
    <dgm:pt modelId="{78CD0F06-EB4B-4039-A3AC-280B1B099C7E}" type="parTrans" cxnId="{AA3E0855-29A4-4B68-B6DC-AB5B61ABAB54}">
      <dgm:prSet/>
      <dgm:spPr/>
    </dgm:pt>
    <dgm:pt modelId="{3332F9B9-67E6-4109-B453-F07CAA69E4E7}" type="sibTrans" cxnId="{AA3E0855-29A4-4B68-B6DC-AB5B61ABAB54}">
      <dgm:prSet/>
      <dgm:spPr/>
      <dgm:t>
        <a:bodyPr/>
        <a:lstStyle/>
        <a:p>
          <a:endParaRPr lang="en-US"/>
        </a:p>
      </dgm:t>
    </dgm:pt>
    <dgm:pt modelId="{3A951D36-5ED3-4571-8874-AB3F9EB7FD3E}">
      <dgm:prSet phldr="0"/>
      <dgm:spPr/>
      <dgm:t>
        <a:bodyPr/>
        <a:lstStyle/>
        <a:p>
          <a:r>
            <a:rPr lang="en-US" dirty="0">
              <a:latin typeface="Aptos Display" panose="020F0302020204030204"/>
            </a:rPr>
            <a:t>22</a:t>
          </a:r>
          <a:r>
            <a:rPr lang="en-US" dirty="0"/>
            <a:t> Workforce Development Programs</a:t>
          </a:r>
        </a:p>
      </dgm:t>
    </dgm:pt>
    <dgm:pt modelId="{68E5AD9B-EF5E-4FBD-9339-8E8035849402}" type="parTrans" cxnId="{1ED34EAD-B9D8-4DA2-936C-149329732B12}">
      <dgm:prSet/>
      <dgm:spPr/>
    </dgm:pt>
    <dgm:pt modelId="{D8BEFB13-9178-43F0-B260-39FC37ACC14F}" type="sibTrans" cxnId="{1ED34EAD-B9D8-4DA2-936C-149329732B12}">
      <dgm:prSet/>
      <dgm:spPr/>
      <dgm:t>
        <a:bodyPr/>
        <a:lstStyle/>
        <a:p>
          <a:endParaRPr lang="en-US"/>
        </a:p>
      </dgm:t>
    </dgm:pt>
    <dgm:pt modelId="{E3CE228C-5196-42D6-AB6E-345A79EC0862}">
      <dgm:prSet phldr="0"/>
      <dgm:spPr/>
      <dgm:t>
        <a:bodyPr/>
        <a:lstStyle/>
        <a:p>
          <a:r>
            <a:rPr lang="en-US" dirty="0"/>
            <a:t>3 </a:t>
          </a:r>
          <a:r>
            <a:rPr lang="en-US" dirty="0">
              <a:latin typeface="Calibri Light" panose="020F0302020204030204"/>
            </a:rPr>
            <a:t>Transition</a:t>
          </a:r>
          <a:r>
            <a:rPr lang="en-US" dirty="0"/>
            <a:t> to Workforce Programs</a:t>
          </a:r>
        </a:p>
      </dgm:t>
    </dgm:pt>
    <dgm:pt modelId="{DC85F80E-21C5-4216-A302-55889711786B}" type="parTrans" cxnId="{72A61F07-AD14-4AE7-95C7-3616F357F73D}">
      <dgm:prSet/>
      <dgm:spPr/>
    </dgm:pt>
    <dgm:pt modelId="{764A9ABE-6D55-47FD-B76B-065DE3C4C5F8}" type="sibTrans" cxnId="{72A61F07-AD14-4AE7-95C7-3616F357F73D}">
      <dgm:prSet/>
      <dgm:spPr/>
      <dgm:t>
        <a:bodyPr/>
        <a:lstStyle/>
        <a:p>
          <a:endParaRPr lang="en-US"/>
        </a:p>
      </dgm:t>
    </dgm:pt>
    <dgm:pt modelId="{04C54366-D97B-4AEC-9564-70CE6884A01F}">
      <dgm:prSet phldr="0"/>
      <dgm:spPr/>
      <dgm:t>
        <a:bodyPr/>
        <a:lstStyle/>
        <a:p>
          <a:r>
            <a:rPr lang="en-US" dirty="0"/>
            <a:t>4 Academics Content Areas</a:t>
          </a:r>
        </a:p>
      </dgm:t>
    </dgm:pt>
    <dgm:pt modelId="{E91EF4BE-FB4A-4954-B6D2-1C75A5AFB051}" type="parTrans" cxnId="{81F06851-22AB-4F00-BCEE-A22DE187C520}">
      <dgm:prSet/>
      <dgm:spPr/>
    </dgm:pt>
    <dgm:pt modelId="{D3F8FAFB-46E3-46AE-8A35-C370E4D4FA27}" type="sibTrans" cxnId="{81F06851-22AB-4F00-BCEE-A22DE187C520}">
      <dgm:prSet/>
      <dgm:spPr/>
      <dgm:t>
        <a:bodyPr/>
        <a:lstStyle/>
        <a:p>
          <a:endParaRPr lang="en-US"/>
        </a:p>
      </dgm:t>
    </dgm:pt>
    <dgm:pt modelId="{6F9F0297-F62D-467B-BB8B-8743968F2E3B}">
      <dgm:prSet phldr="0"/>
      <dgm:spPr/>
      <dgm:t>
        <a:bodyPr/>
        <a:lstStyle/>
        <a:p>
          <a:pPr rtl="0"/>
          <a:r>
            <a:rPr lang="en-US" dirty="0"/>
            <a:t>1 Adult Education</a:t>
          </a:r>
          <a:r>
            <a:rPr lang="en-US" dirty="0">
              <a:latin typeface="Calibri Light" panose="020F0302020204030204"/>
            </a:rPr>
            <a:t> OPOTA</a:t>
          </a:r>
          <a:r>
            <a:rPr lang="en-US" dirty="0"/>
            <a:t> Program</a:t>
          </a:r>
        </a:p>
      </dgm:t>
    </dgm:pt>
    <dgm:pt modelId="{F7750593-C420-402D-9A95-73EA11D23B37}" type="parTrans" cxnId="{058982B7-2FFE-41AC-A524-A10AFD73F779}">
      <dgm:prSet/>
      <dgm:spPr/>
    </dgm:pt>
    <dgm:pt modelId="{779205EF-1A22-467A-882D-15948E20E3DD}" type="sibTrans" cxnId="{058982B7-2FFE-41AC-A524-A10AFD73F779}">
      <dgm:prSet/>
      <dgm:spPr/>
      <dgm:t>
        <a:bodyPr/>
        <a:lstStyle/>
        <a:p>
          <a:endParaRPr lang="en-US"/>
        </a:p>
      </dgm:t>
    </dgm:pt>
    <dgm:pt modelId="{3A0D5576-BF45-490E-A083-E2693C44ADAD}">
      <dgm:prSet phldr="0"/>
      <dgm:spPr/>
      <dgm:t>
        <a:bodyPr/>
        <a:lstStyle/>
        <a:p>
          <a:r>
            <a:rPr lang="en-US" dirty="0">
              <a:latin typeface="Calibri Light" panose="020F0302020204030204"/>
            </a:rPr>
            <a:t>14</a:t>
          </a:r>
          <a:r>
            <a:rPr lang="en-US" dirty="0"/>
            <a:t> Satellite Campuses</a:t>
          </a:r>
        </a:p>
      </dgm:t>
    </dgm:pt>
    <dgm:pt modelId="{48692766-BCC9-4C28-8FE9-7146B733CC5C}" type="parTrans" cxnId="{E7E410DD-4A0A-4D37-9298-03FFCC9B8510}">
      <dgm:prSet/>
      <dgm:spPr/>
    </dgm:pt>
    <dgm:pt modelId="{851FE7F7-5D69-4A88-852C-46CAD8481DD7}" type="sibTrans" cxnId="{E7E410DD-4A0A-4D37-9298-03FFCC9B8510}">
      <dgm:prSet/>
      <dgm:spPr/>
      <dgm:t>
        <a:bodyPr/>
        <a:lstStyle/>
        <a:p>
          <a:endParaRPr lang="en-US"/>
        </a:p>
      </dgm:t>
    </dgm:pt>
    <dgm:pt modelId="{92FB5595-813D-4D0E-8838-41186F9EFB1B}">
      <dgm:prSet phldr="0"/>
      <dgm:spPr/>
      <dgm:t>
        <a:bodyPr/>
        <a:lstStyle/>
        <a:p>
          <a:pPr rtl="0"/>
          <a:r>
            <a:rPr lang="en-US" dirty="0">
              <a:latin typeface="Aptos Display" panose="020F0302020204030204"/>
            </a:rPr>
            <a:t>19</a:t>
          </a:r>
          <a:r>
            <a:rPr lang="en-US" dirty="0"/>
            <a:t> GCCC Programs</a:t>
          </a:r>
          <a:r>
            <a:rPr lang="en-US" dirty="0">
              <a:latin typeface="Calibri Light" panose="020F0302020204030204"/>
            </a:rPr>
            <a:t> </a:t>
          </a:r>
        </a:p>
      </dgm:t>
    </dgm:pt>
    <dgm:pt modelId="{907CEF49-88B2-45F1-BA28-77BC2E5E97CB}" type="parTrans" cxnId="{1FF42CAF-0E0E-4967-BE62-051DC5F55202}">
      <dgm:prSet/>
      <dgm:spPr/>
    </dgm:pt>
    <dgm:pt modelId="{2ADDA38A-F9C6-418E-864F-0D8E778D896F}" type="sibTrans" cxnId="{1FF42CAF-0E0E-4967-BE62-051DC5F55202}">
      <dgm:prSet/>
      <dgm:spPr/>
      <dgm:t>
        <a:bodyPr/>
        <a:lstStyle/>
        <a:p>
          <a:endParaRPr lang="en-US"/>
        </a:p>
      </dgm:t>
    </dgm:pt>
    <dgm:pt modelId="{FA0F0C88-5C56-4B3D-BBA5-6BA3A8B3C0D6}">
      <dgm:prSet phldr="0"/>
      <dgm:spPr/>
      <dgm:t>
        <a:bodyPr/>
        <a:lstStyle/>
        <a:p>
          <a:r>
            <a:rPr lang="en-US" dirty="0"/>
            <a:t>8 CTPD Programs</a:t>
          </a:r>
        </a:p>
      </dgm:t>
    </dgm:pt>
    <dgm:pt modelId="{D4B92718-24E6-404D-BAE2-AA5B7AE210E5}" type="parTrans" cxnId="{336BD12F-792B-4F46-A504-FD1CE7A6DEBC}">
      <dgm:prSet/>
      <dgm:spPr/>
    </dgm:pt>
    <dgm:pt modelId="{44767130-5A88-43BF-91A7-C6E7F8C989B5}" type="sibTrans" cxnId="{336BD12F-792B-4F46-A504-FD1CE7A6DEBC}">
      <dgm:prSet/>
      <dgm:spPr/>
      <dgm:t>
        <a:bodyPr/>
        <a:lstStyle/>
        <a:p>
          <a:endParaRPr lang="en-US"/>
        </a:p>
      </dgm:t>
    </dgm:pt>
    <dgm:pt modelId="{44CB873F-04C0-4DAA-85CC-CA619119E2E2}">
      <dgm:prSet phldr="0"/>
      <dgm:spPr/>
      <dgm:t>
        <a:bodyPr/>
        <a:lstStyle/>
        <a:p>
          <a:pPr rtl="0"/>
          <a:r>
            <a:rPr lang="en-US" dirty="0">
              <a:latin typeface="Calibri Light" panose="020F0302020204030204"/>
            </a:rPr>
            <a:t>2 Auxiliary Campuses</a:t>
          </a:r>
        </a:p>
      </dgm:t>
    </dgm:pt>
    <dgm:pt modelId="{48FED0CA-DEB5-48B3-AEEF-56A937D36CAC}" type="parTrans" cxnId="{26D56FE7-8FA9-4362-BFF2-D12B41F26D81}">
      <dgm:prSet/>
      <dgm:spPr/>
    </dgm:pt>
    <dgm:pt modelId="{4BD69716-3B73-4F5D-A932-2A3A3E0BE565}" type="sibTrans" cxnId="{26D56FE7-8FA9-4362-BFF2-D12B41F26D81}">
      <dgm:prSet/>
      <dgm:spPr/>
      <dgm:t>
        <a:bodyPr/>
        <a:lstStyle/>
        <a:p>
          <a:endParaRPr lang="en-US"/>
        </a:p>
      </dgm:t>
    </dgm:pt>
    <dgm:pt modelId="{1873BFAC-88F4-47DA-9726-F028AE0AA9DF}">
      <dgm:prSet phldr="0"/>
      <dgm:spPr/>
      <dgm:t>
        <a:bodyPr/>
        <a:lstStyle/>
        <a:p>
          <a:pPr rtl="0"/>
          <a:r>
            <a:rPr lang="en-US" dirty="0">
              <a:latin typeface="Calibri Light" panose="020F0302020204030204"/>
            </a:rPr>
            <a:t>AMT @ GC Airport</a:t>
          </a:r>
        </a:p>
      </dgm:t>
    </dgm:pt>
    <dgm:pt modelId="{AFFBCA9E-62DF-47E1-ADE7-000C634E5AEA}" type="parTrans" cxnId="{26637477-2190-4F03-8F56-A59EA202B4C0}">
      <dgm:prSet/>
      <dgm:spPr/>
    </dgm:pt>
    <dgm:pt modelId="{BD81A0D2-93E7-4999-B300-5376F756DD07}" type="sibTrans" cxnId="{26637477-2190-4F03-8F56-A59EA202B4C0}">
      <dgm:prSet/>
      <dgm:spPr/>
      <dgm:t>
        <a:bodyPr/>
        <a:lstStyle/>
        <a:p>
          <a:endParaRPr lang="en-US"/>
        </a:p>
      </dgm:t>
    </dgm:pt>
    <dgm:pt modelId="{7CA64164-C556-43DA-BFCB-B071E0DA5D19}">
      <dgm:prSet phldr="0"/>
      <dgm:spPr/>
      <dgm:t>
        <a:bodyPr/>
        <a:lstStyle/>
        <a:p>
          <a:pPr rtl="0"/>
          <a:r>
            <a:rPr lang="en-US" dirty="0">
              <a:latin typeface="Calibri Light" panose="020F0302020204030204"/>
            </a:rPr>
            <a:t>Project Search @ Soin Hospital</a:t>
          </a:r>
        </a:p>
      </dgm:t>
    </dgm:pt>
    <dgm:pt modelId="{1B52FB2A-981D-4AF6-8CB9-F2A08090AFCA}" type="parTrans" cxnId="{661E2155-933B-457A-A092-8CA44FC87B18}">
      <dgm:prSet/>
      <dgm:spPr/>
    </dgm:pt>
    <dgm:pt modelId="{2A2FB252-A76E-447D-923F-C7E01E6DBAD1}" type="sibTrans" cxnId="{661E2155-933B-457A-A092-8CA44FC87B18}">
      <dgm:prSet/>
      <dgm:spPr/>
      <dgm:t>
        <a:bodyPr/>
        <a:lstStyle/>
        <a:p>
          <a:endParaRPr lang="en-US"/>
        </a:p>
      </dgm:t>
    </dgm:pt>
    <dgm:pt modelId="{837B9B84-3294-4F75-B20F-2A0F8007D891}" type="pres">
      <dgm:prSet presAssocID="{89DD62A7-4EB8-4E35-9D0F-40074B5FD02E}" presName="Name0" presStyleCnt="0">
        <dgm:presLayoutVars>
          <dgm:chPref val="1"/>
          <dgm:dir/>
          <dgm:animOne val="branch"/>
          <dgm:animLvl val="lvl"/>
          <dgm:resizeHandles/>
        </dgm:presLayoutVars>
      </dgm:prSet>
      <dgm:spPr/>
    </dgm:pt>
    <dgm:pt modelId="{35245D49-AF92-4A52-89E3-0360B2AC13FC}" type="pres">
      <dgm:prSet presAssocID="{12214842-BCD4-4485-8A3F-0E3C06E00EC8}" presName="vertOne" presStyleCnt="0"/>
      <dgm:spPr/>
    </dgm:pt>
    <dgm:pt modelId="{BD15E83E-8645-4167-849F-41B57E092DAC}" type="pres">
      <dgm:prSet presAssocID="{12214842-BCD4-4485-8A3F-0E3C06E00EC8}" presName="txOne" presStyleLbl="node0" presStyleIdx="0" presStyleCnt="1">
        <dgm:presLayoutVars>
          <dgm:chPref val="3"/>
        </dgm:presLayoutVars>
      </dgm:prSet>
      <dgm:spPr/>
    </dgm:pt>
    <dgm:pt modelId="{96FEEF9E-A9E3-4D94-A138-780C4E9AA5AA}" type="pres">
      <dgm:prSet presAssocID="{12214842-BCD4-4485-8A3F-0E3C06E00EC8}" presName="parTransOne" presStyleCnt="0"/>
      <dgm:spPr/>
    </dgm:pt>
    <dgm:pt modelId="{C17C5854-1377-42E7-84D7-E15D9C97C4FB}" type="pres">
      <dgm:prSet presAssocID="{12214842-BCD4-4485-8A3F-0E3C06E00EC8}" presName="horzOne" presStyleCnt="0"/>
      <dgm:spPr/>
    </dgm:pt>
    <dgm:pt modelId="{8C9D1850-0182-450E-8CFE-0A128B6EEBB2}" type="pres">
      <dgm:prSet presAssocID="{23805AFF-F1C5-439C-8446-405FCFB57745}" presName="vertTwo" presStyleCnt="0"/>
      <dgm:spPr/>
    </dgm:pt>
    <dgm:pt modelId="{D85A078E-3932-4214-ACCE-38FCD334DF07}" type="pres">
      <dgm:prSet presAssocID="{23805AFF-F1C5-439C-8446-405FCFB57745}" presName="txTwo" presStyleLbl="node2" presStyleIdx="0" presStyleCnt="3">
        <dgm:presLayoutVars>
          <dgm:chPref val="3"/>
        </dgm:presLayoutVars>
      </dgm:prSet>
      <dgm:spPr/>
    </dgm:pt>
    <dgm:pt modelId="{C47F3AF4-1480-494F-8BF7-A06F232D8529}" type="pres">
      <dgm:prSet presAssocID="{23805AFF-F1C5-439C-8446-405FCFB57745}" presName="parTransTwo" presStyleCnt="0"/>
      <dgm:spPr/>
    </dgm:pt>
    <dgm:pt modelId="{80889049-DBE8-4B36-97AC-D749FEAF092B}" type="pres">
      <dgm:prSet presAssocID="{23805AFF-F1C5-439C-8446-405FCFB57745}" presName="horzTwo" presStyleCnt="0"/>
      <dgm:spPr/>
    </dgm:pt>
    <dgm:pt modelId="{CD5E9E2F-D476-4819-A1C7-272F9A5F5106}" type="pres">
      <dgm:prSet presAssocID="{3A951D36-5ED3-4571-8874-AB3F9EB7FD3E}" presName="vertThree" presStyleCnt="0"/>
      <dgm:spPr/>
    </dgm:pt>
    <dgm:pt modelId="{BB4A0C47-3E91-412A-BBC2-63F9440FAAB5}" type="pres">
      <dgm:prSet presAssocID="{3A951D36-5ED3-4571-8874-AB3F9EB7FD3E}" presName="txThree" presStyleLbl="node3" presStyleIdx="0" presStyleCnt="8">
        <dgm:presLayoutVars>
          <dgm:chPref val="3"/>
        </dgm:presLayoutVars>
      </dgm:prSet>
      <dgm:spPr/>
    </dgm:pt>
    <dgm:pt modelId="{834B7701-C1EC-4ABE-A565-419CCF755B01}" type="pres">
      <dgm:prSet presAssocID="{3A951D36-5ED3-4571-8874-AB3F9EB7FD3E}" presName="horzThree" presStyleCnt="0"/>
      <dgm:spPr/>
    </dgm:pt>
    <dgm:pt modelId="{A4913C42-525D-4050-9D6C-13F363B01CF2}" type="pres">
      <dgm:prSet presAssocID="{D8BEFB13-9178-43F0-B260-39FC37ACC14F}" presName="sibSpaceThree" presStyleCnt="0"/>
      <dgm:spPr/>
    </dgm:pt>
    <dgm:pt modelId="{E50092BB-3E64-41F0-A833-08BDC4C43A7E}" type="pres">
      <dgm:prSet presAssocID="{E3CE228C-5196-42D6-AB6E-345A79EC0862}" presName="vertThree" presStyleCnt="0"/>
      <dgm:spPr/>
    </dgm:pt>
    <dgm:pt modelId="{78528E00-DBCB-4653-A361-E65CD47A5FFA}" type="pres">
      <dgm:prSet presAssocID="{E3CE228C-5196-42D6-AB6E-345A79EC0862}" presName="txThree" presStyleLbl="node3" presStyleIdx="1" presStyleCnt="8">
        <dgm:presLayoutVars>
          <dgm:chPref val="3"/>
        </dgm:presLayoutVars>
      </dgm:prSet>
      <dgm:spPr/>
    </dgm:pt>
    <dgm:pt modelId="{BC343682-0DC3-4EF2-9868-D73CDD681E9F}" type="pres">
      <dgm:prSet presAssocID="{E3CE228C-5196-42D6-AB6E-345A79EC0862}" presName="horzThree" presStyleCnt="0"/>
      <dgm:spPr/>
    </dgm:pt>
    <dgm:pt modelId="{C18BDBD8-5209-4785-88B4-F269FF262F80}" type="pres">
      <dgm:prSet presAssocID="{764A9ABE-6D55-47FD-B76B-065DE3C4C5F8}" presName="sibSpaceThree" presStyleCnt="0"/>
      <dgm:spPr/>
    </dgm:pt>
    <dgm:pt modelId="{3F1AEB2C-3490-48D1-B08C-D00AE790E88E}" type="pres">
      <dgm:prSet presAssocID="{04C54366-D97B-4AEC-9564-70CE6884A01F}" presName="vertThree" presStyleCnt="0"/>
      <dgm:spPr/>
    </dgm:pt>
    <dgm:pt modelId="{0394EFFC-A296-4BEC-9B1E-BE1873AA76BD}" type="pres">
      <dgm:prSet presAssocID="{04C54366-D97B-4AEC-9564-70CE6884A01F}" presName="txThree" presStyleLbl="node3" presStyleIdx="2" presStyleCnt="8">
        <dgm:presLayoutVars>
          <dgm:chPref val="3"/>
        </dgm:presLayoutVars>
      </dgm:prSet>
      <dgm:spPr/>
    </dgm:pt>
    <dgm:pt modelId="{503E5780-D00E-4B94-8D92-C76B79FBA4C4}" type="pres">
      <dgm:prSet presAssocID="{04C54366-D97B-4AEC-9564-70CE6884A01F}" presName="horzThree" presStyleCnt="0"/>
      <dgm:spPr/>
    </dgm:pt>
    <dgm:pt modelId="{60A78380-D10B-4218-A671-EDF770F9910F}" type="pres">
      <dgm:prSet presAssocID="{D3F8FAFB-46E3-46AE-8A35-C370E4D4FA27}" presName="sibSpaceThree" presStyleCnt="0"/>
      <dgm:spPr/>
    </dgm:pt>
    <dgm:pt modelId="{9FCF8FD4-7641-43E7-9D3F-74465E8BA16E}" type="pres">
      <dgm:prSet presAssocID="{6F9F0297-F62D-467B-BB8B-8743968F2E3B}" presName="vertThree" presStyleCnt="0"/>
      <dgm:spPr/>
    </dgm:pt>
    <dgm:pt modelId="{0C329572-C305-45B0-922C-E9CFC36A15C3}" type="pres">
      <dgm:prSet presAssocID="{6F9F0297-F62D-467B-BB8B-8743968F2E3B}" presName="txThree" presStyleLbl="node3" presStyleIdx="3" presStyleCnt="8">
        <dgm:presLayoutVars>
          <dgm:chPref val="3"/>
        </dgm:presLayoutVars>
      </dgm:prSet>
      <dgm:spPr/>
    </dgm:pt>
    <dgm:pt modelId="{0B85E076-85AD-4475-931E-681C5689543D}" type="pres">
      <dgm:prSet presAssocID="{6F9F0297-F62D-467B-BB8B-8743968F2E3B}" presName="horzThree" presStyleCnt="0"/>
      <dgm:spPr/>
    </dgm:pt>
    <dgm:pt modelId="{DAB473E5-876E-4C3F-BFE8-847EAE834BFB}" type="pres">
      <dgm:prSet presAssocID="{3332F9B9-67E6-4109-B453-F07CAA69E4E7}" presName="sibSpaceTwo" presStyleCnt="0"/>
      <dgm:spPr/>
    </dgm:pt>
    <dgm:pt modelId="{F83A0988-8D33-45A5-B748-76813CEAC905}" type="pres">
      <dgm:prSet presAssocID="{44CB873F-04C0-4DAA-85CC-CA619119E2E2}" presName="vertTwo" presStyleCnt="0"/>
      <dgm:spPr/>
    </dgm:pt>
    <dgm:pt modelId="{CF61C8C0-B2AA-49A0-942F-0A7614E4453C}" type="pres">
      <dgm:prSet presAssocID="{44CB873F-04C0-4DAA-85CC-CA619119E2E2}" presName="txTwo" presStyleLbl="node2" presStyleIdx="1" presStyleCnt="3">
        <dgm:presLayoutVars>
          <dgm:chPref val="3"/>
        </dgm:presLayoutVars>
      </dgm:prSet>
      <dgm:spPr/>
    </dgm:pt>
    <dgm:pt modelId="{418872BD-0F96-44F1-AF38-A72D7FA6D78A}" type="pres">
      <dgm:prSet presAssocID="{44CB873F-04C0-4DAA-85CC-CA619119E2E2}" presName="parTransTwo" presStyleCnt="0"/>
      <dgm:spPr/>
    </dgm:pt>
    <dgm:pt modelId="{23BAE087-8990-4BE3-9DDF-714F96F95608}" type="pres">
      <dgm:prSet presAssocID="{44CB873F-04C0-4DAA-85CC-CA619119E2E2}" presName="horzTwo" presStyleCnt="0"/>
      <dgm:spPr/>
    </dgm:pt>
    <dgm:pt modelId="{30B68C24-C0C1-4D01-9846-031F134C8E6F}" type="pres">
      <dgm:prSet presAssocID="{1873BFAC-88F4-47DA-9726-F028AE0AA9DF}" presName="vertThree" presStyleCnt="0"/>
      <dgm:spPr/>
    </dgm:pt>
    <dgm:pt modelId="{8C5E79C7-AAA0-4739-96F4-8755924A1ACE}" type="pres">
      <dgm:prSet presAssocID="{1873BFAC-88F4-47DA-9726-F028AE0AA9DF}" presName="txThree" presStyleLbl="node3" presStyleIdx="4" presStyleCnt="8">
        <dgm:presLayoutVars>
          <dgm:chPref val="3"/>
        </dgm:presLayoutVars>
      </dgm:prSet>
      <dgm:spPr/>
    </dgm:pt>
    <dgm:pt modelId="{4BC2F191-A283-46E3-92BB-E1251AFCC246}" type="pres">
      <dgm:prSet presAssocID="{1873BFAC-88F4-47DA-9726-F028AE0AA9DF}" presName="horzThree" presStyleCnt="0"/>
      <dgm:spPr/>
    </dgm:pt>
    <dgm:pt modelId="{1F25CCD6-9655-49F1-9290-48D0D6DA6A43}" type="pres">
      <dgm:prSet presAssocID="{BD81A0D2-93E7-4999-B300-5376F756DD07}" presName="sibSpaceThree" presStyleCnt="0"/>
      <dgm:spPr/>
    </dgm:pt>
    <dgm:pt modelId="{14F5D404-8377-4EAB-B5E2-7B1BBC2DABA3}" type="pres">
      <dgm:prSet presAssocID="{7CA64164-C556-43DA-BFCB-B071E0DA5D19}" presName="vertThree" presStyleCnt="0"/>
      <dgm:spPr/>
    </dgm:pt>
    <dgm:pt modelId="{286B909F-37DC-4ADC-8751-A67E725158C0}" type="pres">
      <dgm:prSet presAssocID="{7CA64164-C556-43DA-BFCB-B071E0DA5D19}" presName="txThree" presStyleLbl="node3" presStyleIdx="5" presStyleCnt="8">
        <dgm:presLayoutVars>
          <dgm:chPref val="3"/>
        </dgm:presLayoutVars>
      </dgm:prSet>
      <dgm:spPr/>
    </dgm:pt>
    <dgm:pt modelId="{7C470B43-B75F-4E36-807B-F24D1928B42C}" type="pres">
      <dgm:prSet presAssocID="{7CA64164-C556-43DA-BFCB-B071E0DA5D19}" presName="horzThree" presStyleCnt="0"/>
      <dgm:spPr/>
    </dgm:pt>
    <dgm:pt modelId="{BB290EBF-C5F7-4303-AF06-4A9D3A8DE48F}" type="pres">
      <dgm:prSet presAssocID="{4BD69716-3B73-4F5D-A932-2A3A3E0BE565}" presName="sibSpaceTwo" presStyleCnt="0"/>
      <dgm:spPr/>
    </dgm:pt>
    <dgm:pt modelId="{56DA563F-8DEC-48B9-8B58-9F61CDD25DFB}" type="pres">
      <dgm:prSet presAssocID="{3A0D5576-BF45-490E-A083-E2693C44ADAD}" presName="vertTwo" presStyleCnt="0"/>
      <dgm:spPr/>
    </dgm:pt>
    <dgm:pt modelId="{E4D6EDEA-6214-48BA-B392-1A7FDD8EBF7F}" type="pres">
      <dgm:prSet presAssocID="{3A0D5576-BF45-490E-A083-E2693C44ADAD}" presName="txTwo" presStyleLbl="node2" presStyleIdx="2" presStyleCnt="3">
        <dgm:presLayoutVars>
          <dgm:chPref val="3"/>
        </dgm:presLayoutVars>
      </dgm:prSet>
      <dgm:spPr/>
    </dgm:pt>
    <dgm:pt modelId="{6F7B0B9C-72B3-4BC3-8BE1-FB76E8650B4A}" type="pres">
      <dgm:prSet presAssocID="{3A0D5576-BF45-490E-A083-E2693C44ADAD}" presName="parTransTwo" presStyleCnt="0"/>
      <dgm:spPr/>
    </dgm:pt>
    <dgm:pt modelId="{FEEF4BAD-FCCE-431B-B5F7-22AA3692CB2C}" type="pres">
      <dgm:prSet presAssocID="{3A0D5576-BF45-490E-A083-E2693C44ADAD}" presName="horzTwo" presStyleCnt="0"/>
      <dgm:spPr/>
    </dgm:pt>
    <dgm:pt modelId="{EA491B1F-4383-4711-A384-21B397DBA970}" type="pres">
      <dgm:prSet presAssocID="{92FB5595-813D-4D0E-8838-41186F9EFB1B}" presName="vertThree" presStyleCnt="0"/>
      <dgm:spPr/>
    </dgm:pt>
    <dgm:pt modelId="{0D90BF13-1E76-4DD7-BBE6-E899887A20C5}" type="pres">
      <dgm:prSet presAssocID="{92FB5595-813D-4D0E-8838-41186F9EFB1B}" presName="txThree" presStyleLbl="node3" presStyleIdx="6" presStyleCnt="8">
        <dgm:presLayoutVars>
          <dgm:chPref val="3"/>
        </dgm:presLayoutVars>
      </dgm:prSet>
      <dgm:spPr/>
    </dgm:pt>
    <dgm:pt modelId="{074D4A64-36BA-42FC-B31D-9A3158C930B9}" type="pres">
      <dgm:prSet presAssocID="{92FB5595-813D-4D0E-8838-41186F9EFB1B}" presName="horzThree" presStyleCnt="0"/>
      <dgm:spPr/>
    </dgm:pt>
    <dgm:pt modelId="{1F972811-BD59-4B22-A5E4-7DF34A16EC0B}" type="pres">
      <dgm:prSet presAssocID="{2ADDA38A-F9C6-418E-864F-0D8E778D896F}" presName="sibSpaceThree" presStyleCnt="0"/>
      <dgm:spPr/>
    </dgm:pt>
    <dgm:pt modelId="{63197D82-8991-438A-AE56-1AF28D17C2C0}" type="pres">
      <dgm:prSet presAssocID="{FA0F0C88-5C56-4B3D-BBA5-6BA3A8B3C0D6}" presName="vertThree" presStyleCnt="0"/>
      <dgm:spPr/>
    </dgm:pt>
    <dgm:pt modelId="{EDCF8A83-4C87-4748-80DD-1D66E7D39BE6}" type="pres">
      <dgm:prSet presAssocID="{FA0F0C88-5C56-4B3D-BBA5-6BA3A8B3C0D6}" presName="txThree" presStyleLbl="node3" presStyleIdx="7" presStyleCnt="8">
        <dgm:presLayoutVars>
          <dgm:chPref val="3"/>
        </dgm:presLayoutVars>
      </dgm:prSet>
      <dgm:spPr/>
    </dgm:pt>
    <dgm:pt modelId="{3268020D-3247-4C82-AEE4-17EF19B8E950}" type="pres">
      <dgm:prSet presAssocID="{FA0F0C88-5C56-4B3D-BBA5-6BA3A8B3C0D6}" presName="horzThree" presStyleCnt="0"/>
      <dgm:spPr/>
    </dgm:pt>
  </dgm:ptLst>
  <dgm:cxnLst>
    <dgm:cxn modelId="{72A61F07-AD14-4AE7-95C7-3616F357F73D}" srcId="{23805AFF-F1C5-439C-8446-405FCFB57745}" destId="{E3CE228C-5196-42D6-AB6E-345A79EC0862}" srcOrd="1" destOrd="0" parTransId="{DC85F80E-21C5-4216-A302-55889711786B}" sibTransId="{764A9ABE-6D55-47FD-B76B-065DE3C4C5F8}"/>
    <dgm:cxn modelId="{67C6652C-C2C9-402B-A506-356F9AFB0E67}" type="presOf" srcId="{FA0F0C88-5C56-4B3D-BBA5-6BA3A8B3C0D6}" destId="{EDCF8A83-4C87-4748-80DD-1D66E7D39BE6}" srcOrd="0" destOrd="0" presId="urn:microsoft.com/office/officeart/2005/8/layout/hierarchy4"/>
    <dgm:cxn modelId="{336BD12F-792B-4F46-A504-FD1CE7A6DEBC}" srcId="{3A0D5576-BF45-490E-A083-E2693C44ADAD}" destId="{FA0F0C88-5C56-4B3D-BBA5-6BA3A8B3C0D6}" srcOrd="1" destOrd="0" parTransId="{D4B92718-24E6-404D-BAE2-AA5B7AE210E5}" sibTransId="{44767130-5A88-43BF-91A7-C6E7F8C989B5}"/>
    <dgm:cxn modelId="{75C29668-A819-45EE-B573-CEFF7ABE3367}" type="presOf" srcId="{3A0D5576-BF45-490E-A083-E2693C44ADAD}" destId="{E4D6EDEA-6214-48BA-B392-1A7FDD8EBF7F}" srcOrd="0" destOrd="0" presId="urn:microsoft.com/office/officeart/2005/8/layout/hierarchy4"/>
    <dgm:cxn modelId="{E6E4194D-6FED-4991-B07A-1FE86C362F59}" srcId="{89DD62A7-4EB8-4E35-9D0F-40074B5FD02E}" destId="{12214842-BCD4-4485-8A3F-0E3C06E00EC8}" srcOrd="0" destOrd="0" parTransId="{AC17EE7F-22B9-4CCC-927D-A944089D018B}" sibTransId="{4ED98262-D2FF-40B1-A2B4-19F332DA079C}"/>
    <dgm:cxn modelId="{54CD376E-AB86-45F9-B1C9-1D89417B9594}" type="presOf" srcId="{23805AFF-F1C5-439C-8446-405FCFB57745}" destId="{D85A078E-3932-4214-ACCE-38FCD334DF07}" srcOrd="0" destOrd="0" presId="urn:microsoft.com/office/officeart/2005/8/layout/hierarchy4"/>
    <dgm:cxn modelId="{8A390270-2F54-4841-BD03-7671DFCCA902}" type="presOf" srcId="{7CA64164-C556-43DA-BFCB-B071E0DA5D19}" destId="{286B909F-37DC-4ADC-8751-A67E725158C0}" srcOrd="0" destOrd="0" presId="urn:microsoft.com/office/officeart/2005/8/layout/hierarchy4"/>
    <dgm:cxn modelId="{81F06851-22AB-4F00-BCEE-A22DE187C520}" srcId="{23805AFF-F1C5-439C-8446-405FCFB57745}" destId="{04C54366-D97B-4AEC-9564-70CE6884A01F}" srcOrd="2" destOrd="0" parTransId="{E91EF4BE-FB4A-4954-B6D2-1C75A5AFB051}" sibTransId="{D3F8FAFB-46E3-46AE-8A35-C370E4D4FA27}"/>
    <dgm:cxn modelId="{AA3E0855-29A4-4B68-B6DC-AB5B61ABAB54}" srcId="{12214842-BCD4-4485-8A3F-0E3C06E00EC8}" destId="{23805AFF-F1C5-439C-8446-405FCFB57745}" srcOrd="0" destOrd="0" parTransId="{78CD0F06-EB4B-4039-A3AC-280B1B099C7E}" sibTransId="{3332F9B9-67E6-4109-B453-F07CAA69E4E7}"/>
    <dgm:cxn modelId="{661E2155-933B-457A-A092-8CA44FC87B18}" srcId="{44CB873F-04C0-4DAA-85CC-CA619119E2E2}" destId="{7CA64164-C556-43DA-BFCB-B071E0DA5D19}" srcOrd="1" destOrd="0" parTransId="{1B52FB2A-981D-4AF6-8CB9-F2A08090AFCA}" sibTransId="{2A2FB252-A76E-447D-923F-C7E01E6DBAD1}"/>
    <dgm:cxn modelId="{26637477-2190-4F03-8F56-A59EA202B4C0}" srcId="{44CB873F-04C0-4DAA-85CC-CA619119E2E2}" destId="{1873BFAC-88F4-47DA-9726-F028AE0AA9DF}" srcOrd="0" destOrd="0" parTransId="{AFFBCA9E-62DF-47E1-ADE7-000C634E5AEA}" sibTransId="{BD81A0D2-93E7-4999-B300-5376F756DD07}"/>
    <dgm:cxn modelId="{5688339E-E5F7-4DF6-A613-DDABD0811D9B}" type="presOf" srcId="{1873BFAC-88F4-47DA-9726-F028AE0AA9DF}" destId="{8C5E79C7-AAA0-4739-96F4-8755924A1ACE}" srcOrd="0" destOrd="0" presId="urn:microsoft.com/office/officeart/2005/8/layout/hierarchy4"/>
    <dgm:cxn modelId="{14F869A8-DE94-4B3B-AF30-4102A47B4691}" type="presOf" srcId="{89DD62A7-4EB8-4E35-9D0F-40074B5FD02E}" destId="{837B9B84-3294-4F75-B20F-2A0F8007D891}" srcOrd="0" destOrd="0" presId="urn:microsoft.com/office/officeart/2005/8/layout/hierarchy4"/>
    <dgm:cxn modelId="{1ED34EAD-B9D8-4DA2-936C-149329732B12}" srcId="{23805AFF-F1C5-439C-8446-405FCFB57745}" destId="{3A951D36-5ED3-4571-8874-AB3F9EB7FD3E}" srcOrd="0" destOrd="0" parTransId="{68E5AD9B-EF5E-4FBD-9339-8E8035849402}" sibTransId="{D8BEFB13-9178-43F0-B260-39FC37ACC14F}"/>
    <dgm:cxn modelId="{1FF42CAF-0E0E-4967-BE62-051DC5F55202}" srcId="{3A0D5576-BF45-490E-A083-E2693C44ADAD}" destId="{92FB5595-813D-4D0E-8838-41186F9EFB1B}" srcOrd="0" destOrd="0" parTransId="{907CEF49-88B2-45F1-BA28-77BC2E5E97CB}" sibTransId="{2ADDA38A-F9C6-418E-864F-0D8E778D896F}"/>
    <dgm:cxn modelId="{058982B7-2FFE-41AC-A524-A10AFD73F779}" srcId="{23805AFF-F1C5-439C-8446-405FCFB57745}" destId="{6F9F0297-F62D-467B-BB8B-8743968F2E3B}" srcOrd="3" destOrd="0" parTransId="{F7750593-C420-402D-9A95-73EA11D23B37}" sibTransId="{779205EF-1A22-467A-882D-15948E20E3DD}"/>
    <dgm:cxn modelId="{214F1CC2-38F1-40B9-B394-E13EB5D2EC33}" type="presOf" srcId="{04C54366-D97B-4AEC-9564-70CE6884A01F}" destId="{0394EFFC-A296-4BEC-9B1E-BE1873AA76BD}" srcOrd="0" destOrd="0" presId="urn:microsoft.com/office/officeart/2005/8/layout/hierarchy4"/>
    <dgm:cxn modelId="{3FC59EC5-BD56-41E4-BEC0-AE232C5489BC}" type="presOf" srcId="{E3CE228C-5196-42D6-AB6E-345A79EC0862}" destId="{78528E00-DBCB-4653-A361-E65CD47A5FFA}" srcOrd="0" destOrd="0" presId="urn:microsoft.com/office/officeart/2005/8/layout/hierarchy4"/>
    <dgm:cxn modelId="{7EC116CD-6F4E-421E-9128-4A3B0680096B}" type="presOf" srcId="{6F9F0297-F62D-467B-BB8B-8743968F2E3B}" destId="{0C329572-C305-45B0-922C-E9CFC36A15C3}" srcOrd="0" destOrd="0" presId="urn:microsoft.com/office/officeart/2005/8/layout/hierarchy4"/>
    <dgm:cxn modelId="{59CA9CCE-18D4-4B73-A868-D699A24135F6}" type="presOf" srcId="{92FB5595-813D-4D0E-8838-41186F9EFB1B}" destId="{0D90BF13-1E76-4DD7-BBE6-E899887A20C5}" srcOrd="0" destOrd="0" presId="urn:microsoft.com/office/officeart/2005/8/layout/hierarchy4"/>
    <dgm:cxn modelId="{E4F586D5-A91A-452F-95F7-666141F7363C}" type="presOf" srcId="{3A951D36-5ED3-4571-8874-AB3F9EB7FD3E}" destId="{BB4A0C47-3E91-412A-BBC2-63F9440FAAB5}" srcOrd="0" destOrd="0" presId="urn:microsoft.com/office/officeart/2005/8/layout/hierarchy4"/>
    <dgm:cxn modelId="{E7E410DD-4A0A-4D37-9298-03FFCC9B8510}" srcId="{12214842-BCD4-4485-8A3F-0E3C06E00EC8}" destId="{3A0D5576-BF45-490E-A083-E2693C44ADAD}" srcOrd="2" destOrd="0" parTransId="{48692766-BCC9-4C28-8FE9-7146B733CC5C}" sibTransId="{851FE7F7-5D69-4A88-852C-46CAD8481DD7}"/>
    <dgm:cxn modelId="{AD7129E0-A464-454D-B3F0-E50D7C7C921F}" type="presOf" srcId="{44CB873F-04C0-4DAA-85CC-CA619119E2E2}" destId="{CF61C8C0-B2AA-49A0-942F-0A7614E4453C}" srcOrd="0" destOrd="0" presId="urn:microsoft.com/office/officeart/2005/8/layout/hierarchy4"/>
    <dgm:cxn modelId="{26D56FE7-8FA9-4362-BFF2-D12B41F26D81}" srcId="{12214842-BCD4-4485-8A3F-0E3C06E00EC8}" destId="{44CB873F-04C0-4DAA-85CC-CA619119E2E2}" srcOrd="1" destOrd="0" parTransId="{48FED0CA-DEB5-48B3-AEEF-56A937D36CAC}" sibTransId="{4BD69716-3B73-4F5D-A932-2A3A3E0BE565}"/>
    <dgm:cxn modelId="{6ADA8EE7-8DD8-4071-AD61-A6C8EC78AAC4}" type="presOf" srcId="{12214842-BCD4-4485-8A3F-0E3C06E00EC8}" destId="{BD15E83E-8645-4167-849F-41B57E092DAC}" srcOrd="0" destOrd="0" presId="urn:microsoft.com/office/officeart/2005/8/layout/hierarchy4"/>
    <dgm:cxn modelId="{63C7803A-4453-4F7C-B61A-3ED6EE35D4D4}" type="presParOf" srcId="{837B9B84-3294-4F75-B20F-2A0F8007D891}" destId="{35245D49-AF92-4A52-89E3-0360B2AC13FC}" srcOrd="0" destOrd="0" presId="urn:microsoft.com/office/officeart/2005/8/layout/hierarchy4"/>
    <dgm:cxn modelId="{D8E36494-E3BB-4E76-9B51-41A5AFD4AC58}" type="presParOf" srcId="{35245D49-AF92-4A52-89E3-0360B2AC13FC}" destId="{BD15E83E-8645-4167-849F-41B57E092DAC}" srcOrd="0" destOrd="0" presId="urn:microsoft.com/office/officeart/2005/8/layout/hierarchy4"/>
    <dgm:cxn modelId="{2E3F68EB-6EA7-46EC-B87C-FC90A6C3FBCC}" type="presParOf" srcId="{35245D49-AF92-4A52-89E3-0360B2AC13FC}" destId="{96FEEF9E-A9E3-4D94-A138-780C4E9AA5AA}" srcOrd="1" destOrd="0" presId="urn:microsoft.com/office/officeart/2005/8/layout/hierarchy4"/>
    <dgm:cxn modelId="{FB8F304A-8074-43C3-9699-E79E6E243377}" type="presParOf" srcId="{35245D49-AF92-4A52-89E3-0360B2AC13FC}" destId="{C17C5854-1377-42E7-84D7-E15D9C97C4FB}" srcOrd="2" destOrd="0" presId="urn:microsoft.com/office/officeart/2005/8/layout/hierarchy4"/>
    <dgm:cxn modelId="{BF2D1969-BC03-45E6-8C76-1074ED25B594}" type="presParOf" srcId="{C17C5854-1377-42E7-84D7-E15D9C97C4FB}" destId="{8C9D1850-0182-450E-8CFE-0A128B6EEBB2}" srcOrd="0" destOrd="0" presId="urn:microsoft.com/office/officeart/2005/8/layout/hierarchy4"/>
    <dgm:cxn modelId="{9E0402DF-5844-46B2-A838-92491CFC1759}" type="presParOf" srcId="{8C9D1850-0182-450E-8CFE-0A128B6EEBB2}" destId="{D85A078E-3932-4214-ACCE-38FCD334DF07}" srcOrd="0" destOrd="0" presId="urn:microsoft.com/office/officeart/2005/8/layout/hierarchy4"/>
    <dgm:cxn modelId="{B79B6874-C642-4B68-8348-65FE42BEAF0E}" type="presParOf" srcId="{8C9D1850-0182-450E-8CFE-0A128B6EEBB2}" destId="{C47F3AF4-1480-494F-8BF7-A06F232D8529}" srcOrd="1" destOrd="0" presId="urn:microsoft.com/office/officeart/2005/8/layout/hierarchy4"/>
    <dgm:cxn modelId="{6720B5AF-7281-4683-9AC0-BE5A7DB87752}" type="presParOf" srcId="{8C9D1850-0182-450E-8CFE-0A128B6EEBB2}" destId="{80889049-DBE8-4B36-97AC-D749FEAF092B}" srcOrd="2" destOrd="0" presId="urn:microsoft.com/office/officeart/2005/8/layout/hierarchy4"/>
    <dgm:cxn modelId="{7D474F23-07A7-48DB-B784-A9C48927AC27}" type="presParOf" srcId="{80889049-DBE8-4B36-97AC-D749FEAF092B}" destId="{CD5E9E2F-D476-4819-A1C7-272F9A5F5106}" srcOrd="0" destOrd="0" presId="urn:microsoft.com/office/officeart/2005/8/layout/hierarchy4"/>
    <dgm:cxn modelId="{62C79C5B-1474-4CF1-8E20-F82779BCEEE9}" type="presParOf" srcId="{CD5E9E2F-D476-4819-A1C7-272F9A5F5106}" destId="{BB4A0C47-3E91-412A-BBC2-63F9440FAAB5}" srcOrd="0" destOrd="0" presId="urn:microsoft.com/office/officeart/2005/8/layout/hierarchy4"/>
    <dgm:cxn modelId="{557CBD43-49BD-49D0-9172-487B793CFFAB}" type="presParOf" srcId="{CD5E9E2F-D476-4819-A1C7-272F9A5F5106}" destId="{834B7701-C1EC-4ABE-A565-419CCF755B01}" srcOrd="1" destOrd="0" presId="urn:microsoft.com/office/officeart/2005/8/layout/hierarchy4"/>
    <dgm:cxn modelId="{177F4669-4AE5-417E-87A3-7DA24CB6EB10}" type="presParOf" srcId="{80889049-DBE8-4B36-97AC-D749FEAF092B}" destId="{A4913C42-525D-4050-9D6C-13F363B01CF2}" srcOrd="1" destOrd="0" presId="urn:microsoft.com/office/officeart/2005/8/layout/hierarchy4"/>
    <dgm:cxn modelId="{12C62346-3C8B-46CD-A7B2-C0C436EB80D0}" type="presParOf" srcId="{80889049-DBE8-4B36-97AC-D749FEAF092B}" destId="{E50092BB-3E64-41F0-A833-08BDC4C43A7E}" srcOrd="2" destOrd="0" presId="urn:microsoft.com/office/officeart/2005/8/layout/hierarchy4"/>
    <dgm:cxn modelId="{9CC6C4BC-0A46-4D7E-A8B1-5BA56AA9F6C6}" type="presParOf" srcId="{E50092BB-3E64-41F0-A833-08BDC4C43A7E}" destId="{78528E00-DBCB-4653-A361-E65CD47A5FFA}" srcOrd="0" destOrd="0" presId="urn:microsoft.com/office/officeart/2005/8/layout/hierarchy4"/>
    <dgm:cxn modelId="{74609CF4-A569-4E02-9AB6-5D1C778AB772}" type="presParOf" srcId="{E50092BB-3E64-41F0-A833-08BDC4C43A7E}" destId="{BC343682-0DC3-4EF2-9868-D73CDD681E9F}" srcOrd="1" destOrd="0" presId="urn:microsoft.com/office/officeart/2005/8/layout/hierarchy4"/>
    <dgm:cxn modelId="{BB16C7E5-7DF6-41C8-83D8-571830A6086E}" type="presParOf" srcId="{80889049-DBE8-4B36-97AC-D749FEAF092B}" destId="{C18BDBD8-5209-4785-88B4-F269FF262F80}" srcOrd="3" destOrd="0" presId="urn:microsoft.com/office/officeart/2005/8/layout/hierarchy4"/>
    <dgm:cxn modelId="{E6C67D0C-35B2-47A1-A0C4-23229D1B6C4E}" type="presParOf" srcId="{80889049-DBE8-4B36-97AC-D749FEAF092B}" destId="{3F1AEB2C-3490-48D1-B08C-D00AE790E88E}" srcOrd="4" destOrd="0" presId="urn:microsoft.com/office/officeart/2005/8/layout/hierarchy4"/>
    <dgm:cxn modelId="{CFB5131D-CD86-4371-8EFE-77C7C782D191}" type="presParOf" srcId="{3F1AEB2C-3490-48D1-B08C-D00AE790E88E}" destId="{0394EFFC-A296-4BEC-9B1E-BE1873AA76BD}" srcOrd="0" destOrd="0" presId="urn:microsoft.com/office/officeart/2005/8/layout/hierarchy4"/>
    <dgm:cxn modelId="{13E1389A-13ED-4490-9CF9-9D61516CEC09}" type="presParOf" srcId="{3F1AEB2C-3490-48D1-B08C-D00AE790E88E}" destId="{503E5780-D00E-4B94-8D92-C76B79FBA4C4}" srcOrd="1" destOrd="0" presId="urn:microsoft.com/office/officeart/2005/8/layout/hierarchy4"/>
    <dgm:cxn modelId="{65FD1C96-F0A5-461F-92E8-7D3A9C3A9963}" type="presParOf" srcId="{80889049-DBE8-4B36-97AC-D749FEAF092B}" destId="{60A78380-D10B-4218-A671-EDF770F9910F}" srcOrd="5" destOrd="0" presId="urn:microsoft.com/office/officeart/2005/8/layout/hierarchy4"/>
    <dgm:cxn modelId="{02F0D140-F226-45B7-80AF-1728DA64A29D}" type="presParOf" srcId="{80889049-DBE8-4B36-97AC-D749FEAF092B}" destId="{9FCF8FD4-7641-43E7-9D3F-74465E8BA16E}" srcOrd="6" destOrd="0" presId="urn:microsoft.com/office/officeart/2005/8/layout/hierarchy4"/>
    <dgm:cxn modelId="{7D9A8598-4ED2-4AE0-BA75-BB64A7828188}" type="presParOf" srcId="{9FCF8FD4-7641-43E7-9D3F-74465E8BA16E}" destId="{0C329572-C305-45B0-922C-E9CFC36A15C3}" srcOrd="0" destOrd="0" presId="urn:microsoft.com/office/officeart/2005/8/layout/hierarchy4"/>
    <dgm:cxn modelId="{064E700F-3C79-4F15-821D-7B6CA89B403C}" type="presParOf" srcId="{9FCF8FD4-7641-43E7-9D3F-74465E8BA16E}" destId="{0B85E076-85AD-4475-931E-681C5689543D}" srcOrd="1" destOrd="0" presId="urn:microsoft.com/office/officeart/2005/8/layout/hierarchy4"/>
    <dgm:cxn modelId="{785B776E-ED41-412B-BCBD-B05CC3534632}" type="presParOf" srcId="{C17C5854-1377-42E7-84D7-E15D9C97C4FB}" destId="{DAB473E5-876E-4C3F-BFE8-847EAE834BFB}" srcOrd="1" destOrd="0" presId="urn:microsoft.com/office/officeart/2005/8/layout/hierarchy4"/>
    <dgm:cxn modelId="{E4910443-56ED-4009-AC94-4C386E79588A}" type="presParOf" srcId="{C17C5854-1377-42E7-84D7-E15D9C97C4FB}" destId="{F83A0988-8D33-45A5-B748-76813CEAC905}" srcOrd="2" destOrd="0" presId="urn:microsoft.com/office/officeart/2005/8/layout/hierarchy4"/>
    <dgm:cxn modelId="{A597CCB4-F069-4E48-B91F-9755D38E3E24}" type="presParOf" srcId="{F83A0988-8D33-45A5-B748-76813CEAC905}" destId="{CF61C8C0-B2AA-49A0-942F-0A7614E4453C}" srcOrd="0" destOrd="0" presId="urn:microsoft.com/office/officeart/2005/8/layout/hierarchy4"/>
    <dgm:cxn modelId="{9A8B2D8C-6037-41D9-A61E-3D5CAEAAECAF}" type="presParOf" srcId="{F83A0988-8D33-45A5-B748-76813CEAC905}" destId="{418872BD-0F96-44F1-AF38-A72D7FA6D78A}" srcOrd="1" destOrd="0" presId="urn:microsoft.com/office/officeart/2005/8/layout/hierarchy4"/>
    <dgm:cxn modelId="{B3B4FF8E-5B47-4AC8-BFF0-6680502CADB1}" type="presParOf" srcId="{F83A0988-8D33-45A5-B748-76813CEAC905}" destId="{23BAE087-8990-4BE3-9DDF-714F96F95608}" srcOrd="2" destOrd="0" presId="urn:microsoft.com/office/officeart/2005/8/layout/hierarchy4"/>
    <dgm:cxn modelId="{520147D7-B62A-47BA-AA12-8E23580B390B}" type="presParOf" srcId="{23BAE087-8990-4BE3-9DDF-714F96F95608}" destId="{30B68C24-C0C1-4D01-9846-031F134C8E6F}" srcOrd="0" destOrd="0" presId="urn:microsoft.com/office/officeart/2005/8/layout/hierarchy4"/>
    <dgm:cxn modelId="{019C5280-E024-461B-BFA9-3A83A381B775}" type="presParOf" srcId="{30B68C24-C0C1-4D01-9846-031F134C8E6F}" destId="{8C5E79C7-AAA0-4739-96F4-8755924A1ACE}" srcOrd="0" destOrd="0" presId="urn:microsoft.com/office/officeart/2005/8/layout/hierarchy4"/>
    <dgm:cxn modelId="{12DED941-E73B-4C4F-9D42-1C1D4798108E}" type="presParOf" srcId="{30B68C24-C0C1-4D01-9846-031F134C8E6F}" destId="{4BC2F191-A283-46E3-92BB-E1251AFCC246}" srcOrd="1" destOrd="0" presId="urn:microsoft.com/office/officeart/2005/8/layout/hierarchy4"/>
    <dgm:cxn modelId="{4818434E-2172-4707-96E5-127AA3AD4711}" type="presParOf" srcId="{23BAE087-8990-4BE3-9DDF-714F96F95608}" destId="{1F25CCD6-9655-49F1-9290-48D0D6DA6A43}" srcOrd="1" destOrd="0" presId="urn:microsoft.com/office/officeart/2005/8/layout/hierarchy4"/>
    <dgm:cxn modelId="{16471013-987C-4499-98D0-CC7C612C43E9}" type="presParOf" srcId="{23BAE087-8990-4BE3-9DDF-714F96F95608}" destId="{14F5D404-8377-4EAB-B5E2-7B1BBC2DABA3}" srcOrd="2" destOrd="0" presId="urn:microsoft.com/office/officeart/2005/8/layout/hierarchy4"/>
    <dgm:cxn modelId="{BF6F1E00-D477-4C03-B3FE-12840B60D071}" type="presParOf" srcId="{14F5D404-8377-4EAB-B5E2-7B1BBC2DABA3}" destId="{286B909F-37DC-4ADC-8751-A67E725158C0}" srcOrd="0" destOrd="0" presId="urn:microsoft.com/office/officeart/2005/8/layout/hierarchy4"/>
    <dgm:cxn modelId="{5E42D330-0283-41A2-B66B-976545E8A471}" type="presParOf" srcId="{14F5D404-8377-4EAB-B5E2-7B1BBC2DABA3}" destId="{7C470B43-B75F-4E36-807B-F24D1928B42C}" srcOrd="1" destOrd="0" presId="urn:microsoft.com/office/officeart/2005/8/layout/hierarchy4"/>
    <dgm:cxn modelId="{8DD3E8FE-C9D3-4210-90F4-520A9E8BC288}" type="presParOf" srcId="{C17C5854-1377-42E7-84D7-E15D9C97C4FB}" destId="{BB290EBF-C5F7-4303-AF06-4A9D3A8DE48F}" srcOrd="3" destOrd="0" presId="urn:microsoft.com/office/officeart/2005/8/layout/hierarchy4"/>
    <dgm:cxn modelId="{C7071FAA-0D37-4E49-B177-4908BF50B03E}" type="presParOf" srcId="{C17C5854-1377-42E7-84D7-E15D9C97C4FB}" destId="{56DA563F-8DEC-48B9-8B58-9F61CDD25DFB}" srcOrd="4" destOrd="0" presId="urn:microsoft.com/office/officeart/2005/8/layout/hierarchy4"/>
    <dgm:cxn modelId="{C86BE40E-6B5F-4307-A626-EEB9F6490459}" type="presParOf" srcId="{56DA563F-8DEC-48B9-8B58-9F61CDD25DFB}" destId="{E4D6EDEA-6214-48BA-B392-1A7FDD8EBF7F}" srcOrd="0" destOrd="0" presId="urn:microsoft.com/office/officeart/2005/8/layout/hierarchy4"/>
    <dgm:cxn modelId="{DEA46B7F-474A-41FC-BE72-8AB7F9F0E5E3}" type="presParOf" srcId="{56DA563F-8DEC-48B9-8B58-9F61CDD25DFB}" destId="{6F7B0B9C-72B3-4BC3-8BE1-FB76E8650B4A}" srcOrd="1" destOrd="0" presId="urn:microsoft.com/office/officeart/2005/8/layout/hierarchy4"/>
    <dgm:cxn modelId="{54A6D784-4CFB-4B5D-934A-7892D88C842C}" type="presParOf" srcId="{56DA563F-8DEC-48B9-8B58-9F61CDD25DFB}" destId="{FEEF4BAD-FCCE-431B-B5F7-22AA3692CB2C}" srcOrd="2" destOrd="0" presId="urn:microsoft.com/office/officeart/2005/8/layout/hierarchy4"/>
    <dgm:cxn modelId="{E92D2F64-F0B9-416B-8CF9-9A163892822C}" type="presParOf" srcId="{FEEF4BAD-FCCE-431B-B5F7-22AA3692CB2C}" destId="{EA491B1F-4383-4711-A384-21B397DBA970}" srcOrd="0" destOrd="0" presId="urn:microsoft.com/office/officeart/2005/8/layout/hierarchy4"/>
    <dgm:cxn modelId="{418E2479-96C0-45B5-96A5-64D2018C565C}" type="presParOf" srcId="{EA491B1F-4383-4711-A384-21B397DBA970}" destId="{0D90BF13-1E76-4DD7-BBE6-E899887A20C5}" srcOrd="0" destOrd="0" presId="urn:microsoft.com/office/officeart/2005/8/layout/hierarchy4"/>
    <dgm:cxn modelId="{6749F395-FB79-496F-B59B-9579BF0B2B06}" type="presParOf" srcId="{EA491B1F-4383-4711-A384-21B397DBA970}" destId="{074D4A64-36BA-42FC-B31D-9A3158C930B9}" srcOrd="1" destOrd="0" presId="urn:microsoft.com/office/officeart/2005/8/layout/hierarchy4"/>
    <dgm:cxn modelId="{2BDFF014-12EC-4284-AF3B-A7362E636F00}" type="presParOf" srcId="{FEEF4BAD-FCCE-431B-B5F7-22AA3692CB2C}" destId="{1F972811-BD59-4B22-A5E4-7DF34A16EC0B}" srcOrd="1" destOrd="0" presId="urn:microsoft.com/office/officeart/2005/8/layout/hierarchy4"/>
    <dgm:cxn modelId="{E5942D79-3AA4-44F5-992F-88F1790A661C}" type="presParOf" srcId="{FEEF4BAD-FCCE-431B-B5F7-22AA3692CB2C}" destId="{63197D82-8991-438A-AE56-1AF28D17C2C0}" srcOrd="2" destOrd="0" presId="urn:microsoft.com/office/officeart/2005/8/layout/hierarchy4"/>
    <dgm:cxn modelId="{5CCB8443-AC8C-4915-A2B8-209B177F25E3}" type="presParOf" srcId="{63197D82-8991-438A-AE56-1AF28D17C2C0}" destId="{EDCF8A83-4C87-4748-80DD-1D66E7D39BE6}" srcOrd="0" destOrd="0" presId="urn:microsoft.com/office/officeart/2005/8/layout/hierarchy4"/>
    <dgm:cxn modelId="{9AA030AA-D501-4482-B134-955D3B8ED5DA}" type="presParOf" srcId="{63197D82-8991-438A-AE56-1AF28D17C2C0}" destId="{3268020D-3247-4C82-AEE4-17EF19B8E950}"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469BBFC-5A42-44E6-B01E-6CBFFA266FD3}" type="doc">
      <dgm:prSet loTypeId="urn:microsoft.com/office/officeart/2005/8/layout/hProcess9" loCatId="process" qsTypeId="urn:microsoft.com/office/officeart/2005/8/quickstyle/simple1" qsCatId="simple" csTypeId="urn:microsoft.com/office/officeart/2005/8/colors/colorful1" csCatId="colorful" phldr="1"/>
      <dgm:spPr/>
    </dgm:pt>
    <dgm:pt modelId="{E520ABBA-799C-4C10-9A90-5592C61C3876}">
      <dgm:prSet phldr="0"/>
      <dgm:spPr/>
      <dgm:t>
        <a:bodyPr/>
        <a:lstStyle/>
        <a:p>
          <a:pPr algn="l" rtl="0">
            <a:lnSpc>
              <a:spcPct val="90000"/>
            </a:lnSpc>
          </a:pPr>
          <a:r>
            <a:rPr lang="en-US" dirty="0">
              <a:latin typeface="Aptos"/>
            </a:rPr>
            <a:t>Elementary K-6 </a:t>
          </a:r>
        </a:p>
      </dgm:t>
    </dgm:pt>
    <dgm:pt modelId="{4E25DFF0-03D1-4BD2-935D-F7DC5C6AF640}" type="parTrans" cxnId="{35E614D0-D739-4431-9A8B-44B87EC0E0DA}">
      <dgm:prSet/>
      <dgm:spPr/>
    </dgm:pt>
    <dgm:pt modelId="{032F1E0E-B820-4A11-858A-5276775CD15E}" type="sibTrans" cxnId="{35E614D0-D739-4431-9A8B-44B87EC0E0DA}">
      <dgm:prSet/>
      <dgm:spPr/>
    </dgm:pt>
    <dgm:pt modelId="{D927CCA3-8C68-4D52-890F-1BE669546474}">
      <dgm:prSet phldr="0"/>
      <dgm:spPr/>
      <dgm:t>
        <a:bodyPr/>
        <a:lstStyle/>
        <a:p>
          <a:pPr algn="l">
            <a:lnSpc>
              <a:spcPct val="90000"/>
            </a:lnSpc>
          </a:pPr>
          <a:r>
            <a:rPr lang="en-US" dirty="0">
              <a:latin typeface="Aptos"/>
            </a:rPr>
            <a:t>STEM Activities and resources </a:t>
          </a:r>
        </a:p>
      </dgm:t>
    </dgm:pt>
    <dgm:pt modelId="{023BAC43-B9DA-4E93-BA88-90EEF13EC80C}" type="parTrans" cxnId="{B02BB940-C7B6-4C9C-8C95-B89375FD31C2}">
      <dgm:prSet/>
      <dgm:spPr/>
    </dgm:pt>
    <dgm:pt modelId="{CD9E8A3F-15E5-4028-8C3E-EB6C0BCAC5B4}" type="sibTrans" cxnId="{B02BB940-C7B6-4C9C-8C95-B89375FD31C2}">
      <dgm:prSet/>
      <dgm:spPr/>
    </dgm:pt>
    <dgm:pt modelId="{830E3467-5DC4-40DB-81AE-43EB2181CAD6}">
      <dgm:prSet phldr="0"/>
      <dgm:spPr/>
      <dgm:t>
        <a:bodyPr/>
        <a:lstStyle/>
        <a:p>
          <a:pPr algn="l">
            <a:lnSpc>
              <a:spcPct val="90000"/>
            </a:lnSpc>
          </a:pPr>
          <a:r>
            <a:rPr lang="en-US" dirty="0">
              <a:latin typeface="Aptos"/>
            </a:rPr>
            <a:t>Micro-Grants</a:t>
          </a:r>
        </a:p>
      </dgm:t>
    </dgm:pt>
    <dgm:pt modelId="{47245101-097E-4141-B323-7B799EB95A7E}" type="parTrans" cxnId="{1F432613-66E2-4D88-AB1A-12EB284F6BE8}">
      <dgm:prSet/>
      <dgm:spPr/>
    </dgm:pt>
    <dgm:pt modelId="{F978B906-14F1-41DF-803B-BB9CEC602018}" type="sibTrans" cxnId="{1F432613-66E2-4D88-AB1A-12EB284F6BE8}">
      <dgm:prSet/>
      <dgm:spPr/>
    </dgm:pt>
    <dgm:pt modelId="{B19FCAAB-E026-4DBB-8CBE-30BF116D201D}">
      <dgm:prSet phldr="0"/>
      <dgm:spPr/>
      <dgm:t>
        <a:bodyPr/>
        <a:lstStyle/>
        <a:p>
          <a:pPr algn="l">
            <a:lnSpc>
              <a:spcPct val="90000"/>
            </a:lnSpc>
          </a:pPr>
          <a:r>
            <a:rPr lang="en-US" dirty="0">
              <a:latin typeface="Aptos"/>
            </a:rPr>
            <a:t>Middle School 6-8</a:t>
          </a:r>
        </a:p>
      </dgm:t>
    </dgm:pt>
    <dgm:pt modelId="{33548433-80AC-43F2-BF1F-BA6A71397D63}" type="parTrans" cxnId="{29F85FA6-CF49-4C12-A7E3-0E97C79AB681}">
      <dgm:prSet/>
      <dgm:spPr/>
    </dgm:pt>
    <dgm:pt modelId="{89210CAA-2E93-4F04-8CEA-91BC1F9CE937}" type="sibTrans" cxnId="{29F85FA6-CF49-4C12-A7E3-0E97C79AB681}">
      <dgm:prSet/>
      <dgm:spPr/>
    </dgm:pt>
    <dgm:pt modelId="{8AC1EB35-529D-4F98-BBB8-F144BE1EB665}">
      <dgm:prSet phldr="0"/>
      <dgm:spPr/>
      <dgm:t>
        <a:bodyPr/>
        <a:lstStyle/>
        <a:p>
          <a:pPr algn="l">
            <a:lnSpc>
              <a:spcPct val="90000"/>
            </a:lnSpc>
          </a:pPr>
          <a:r>
            <a:rPr lang="en-US" dirty="0">
              <a:latin typeface="Aptos"/>
            </a:rPr>
            <a:t>STEM Camp</a:t>
          </a:r>
        </a:p>
      </dgm:t>
    </dgm:pt>
    <dgm:pt modelId="{99F12CE2-7AC2-4755-B152-D2416348E58B}" type="parTrans" cxnId="{BBF3BD5C-3608-42F0-B7A5-4FE16AEAAF72}">
      <dgm:prSet/>
      <dgm:spPr/>
    </dgm:pt>
    <dgm:pt modelId="{6DC7B55E-7A0E-4A94-B2E7-5E778B6C6359}" type="sibTrans" cxnId="{BBF3BD5C-3608-42F0-B7A5-4FE16AEAAF72}">
      <dgm:prSet/>
      <dgm:spPr/>
    </dgm:pt>
    <dgm:pt modelId="{D4A8818C-E3BF-4650-9272-F2D38E4EB7E7}">
      <dgm:prSet phldr="0"/>
      <dgm:spPr/>
      <dgm:t>
        <a:bodyPr/>
        <a:lstStyle/>
        <a:p>
          <a:pPr algn="l">
            <a:lnSpc>
              <a:spcPct val="90000"/>
            </a:lnSpc>
          </a:pPr>
          <a:r>
            <a:rPr lang="en-US" dirty="0">
              <a:latin typeface="Aptos"/>
            </a:rPr>
            <a:t>Middle School Engineering Programming</a:t>
          </a:r>
        </a:p>
      </dgm:t>
    </dgm:pt>
    <dgm:pt modelId="{E5F4D458-63A7-4886-BA52-D60AC1BAC61E}" type="parTrans" cxnId="{40BB34C6-D379-4F39-A3BD-0C1D99B28472}">
      <dgm:prSet/>
      <dgm:spPr/>
    </dgm:pt>
    <dgm:pt modelId="{70CEB250-50AE-416D-AF2E-43DF0150F487}" type="sibTrans" cxnId="{40BB34C6-D379-4F39-A3BD-0C1D99B28472}">
      <dgm:prSet/>
      <dgm:spPr/>
    </dgm:pt>
    <dgm:pt modelId="{DD184371-F67C-4B33-B8BD-544912E7047C}">
      <dgm:prSet phldr="0"/>
      <dgm:spPr/>
      <dgm:t>
        <a:bodyPr/>
        <a:lstStyle/>
        <a:p>
          <a:pPr algn="l">
            <a:lnSpc>
              <a:spcPct val="90000"/>
            </a:lnSpc>
          </a:pPr>
          <a:r>
            <a:rPr lang="en-US" dirty="0">
              <a:latin typeface="Aptos"/>
            </a:rPr>
            <a:t>Mix of Satellite GCCC and District Owned</a:t>
          </a:r>
        </a:p>
      </dgm:t>
    </dgm:pt>
    <dgm:pt modelId="{7FA85EAA-D619-410E-8289-E4AE70A53905}" type="parTrans" cxnId="{6D82084C-D5EF-4B81-88E8-586AA14B7926}">
      <dgm:prSet/>
      <dgm:spPr/>
    </dgm:pt>
    <dgm:pt modelId="{63B3E905-9D56-47C5-A8B7-36E6B3FDD285}" type="sibTrans" cxnId="{6D82084C-D5EF-4B81-88E8-586AA14B7926}">
      <dgm:prSet/>
      <dgm:spPr/>
    </dgm:pt>
    <dgm:pt modelId="{D6FADADE-17CF-4127-B0B1-72A62420D1F1}">
      <dgm:prSet phldr="0"/>
      <dgm:spPr/>
      <dgm:t>
        <a:bodyPr/>
        <a:lstStyle/>
        <a:p>
          <a:pPr algn="l">
            <a:lnSpc>
              <a:spcPct val="90000"/>
            </a:lnSpc>
          </a:pPr>
          <a:r>
            <a:rPr lang="en-US" dirty="0">
              <a:latin typeface="Aptos"/>
            </a:rPr>
            <a:t>PLTW Robotics, Flight and Space, Introduction to Engineering Design</a:t>
          </a:r>
        </a:p>
      </dgm:t>
    </dgm:pt>
    <dgm:pt modelId="{4C7058C5-F9C3-4A59-935D-9B116EADBC5A}" type="parTrans" cxnId="{85C63FF8-6320-44C8-980B-9EB10C8B965D}">
      <dgm:prSet/>
      <dgm:spPr/>
    </dgm:pt>
    <dgm:pt modelId="{6E15590F-5722-43C6-9E49-AB1889722095}" type="sibTrans" cxnId="{85C63FF8-6320-44C8-980B-9EB10C8B965D}">
      <dgm:prSet/>
      <dgm:spPr/>
    </dgm:pt>
    <dgm:pt modelId="{C6DF05AB-B690-4C3F-B980-3F88633BF707}">
      <dgm:prSet phldr="0"/>
      <dgm:spPr/>
      <dgm:t>
        <a:bodyPr/>
        <a:lstStyle/>
        <a:p>
          <a:pPr algn="l">
            <a:lnSpc>
              <a:spcPct val="90000"/>
            </a:lnSpc>
          </a:pPr>
          <a:r>
            <a:rPr lang="en-US" dirty="0">
              <a:latin typeface="Aptos"/>
            </a:rPr>
            <a:t>High School 9-12</a:t>
          </a:r>
        </a:p>
      </dgm:t>
    </dgm:pt>
    <dgm:pt modelId="{11CB3432-3C18-4A50-8DDC-57633C0C0909}" type="parTrans" cxnId="{6A516338-6FDF-4A05-A961-5B090085C300}">
      <dgm:prSet/>
      <dgm:spPr/>
    </dgm:pt>
    <dgm:pt modelId="{5C1C6AEE-6E41-4299-8B0B-A1937E4B7EFA}" type="sibTrans" cxnId="{6A516338-6FDF-4A05-A961-5B090085C300}">
      <dgm:prSet/>
      <dgm:spPr/>
    </dgm:pt>
    <dgm:pt modelId="{218FE6E4-DDBF-441A-B1BC-7B64CC25E3C7}">
      <dgm:prSet phldr="0"/>
      <dgm:spPr/>
      <dgm:t>
        <a:bodyPr/>
        <a:lstStyle/>
        <a:p>
          <a:pPr algn="l">
            <a:lnSpc>
              <a:spcPct val="90000"/>
            </a:lnSpc>
          </a:pPr>
          <a:r>
            <a:rPr lang="en-US" dirty="0">
              <a:latin typeface="Aptos"/>
            </a:rPr>
            <a:t>Satellite Engineering Courses</a:t>
          </a:r>
        </a:p>
      </dgm:t>
    </dgm:pt>
    <dgm:pt modelId="{BB7F30ED-239E-4688-8606-D4FEF8AB81AF}" type="parTrans" cxnId="{FA99572B-C45F-4075-A8D6-D4B4298184F8}">
      <dgm:prSet/>
      <dgm:spPr/>
    </dgm:pt>
    <dgm:pt modelId="{C9469F3F-6C48-48C1-9529-C01BFFF2F9FD}" type="sibTrans" cxnId="{FA99572B-C45F-4075-A8D6-D4B4298184F8}">
      <dgm:prSet/>
      <dgm:spPr/>
    </dgm:pt>
    <dgm:pt modelId="{344CEECD-9FFB-4564-9F92-4F6D992104BF}">
      <dgm:prSet phldr="0"/>
      <dgm:spPr/>
      <dgm:t>
        <a:bodyPr/>
        <a:lstStyle/>
        <a:p>
          <a:pPr algn="l">
            <a:lnSpc>
              <a:spcPct val="90000"/>
            </a:lnSpc>
          </a:pPr>
          <a:r>
            <a:rPr lang="en-US" dirty="0">
              <a:latin typeface="Aptos"/>
            </a:rPr>
            <a:t>Career Center</a:t>
          </a:r>
        </a:p>
      </dgm:t>
    </dgm:pt>
    <dgm:pt modelId="{E3F23D81-8F86-49E3-8E0C-E26BE0164651}" type="parTrans" cxnId="{3D1F9052-73C6-48A1-A455-B557A713976B}">
      <dgm:prSet/>
      <dgm:spPr/>
    </dgm:pt>
    <dgm:pt modelId="{B1C159F9-908E-4F04-99DD-9BE529E97946}" type="sibTrans" cxnId="{3D1F9052-73C6-48A1-A455-B557A713976B}">
      <dgm:prSet/>
      <dgm:spPr/>
    </dgm:pt>
    <dgm:pt modelId="{27A61A05-49C6-4D3E-BCFB-D5CE36FA3B65}">
      <dgm:prSet phldr="0"/>
      <dgm:spPr/>
      <dgm:t>
        <a:bodyPr/>
        <a:lstStyle/>
        <a:p>
          <a:pPr algn="l">
            <a:lnSpc>
              <a:spcPct val="90000"/>
            </a:lnSpc>
          </a:pPr>
          <a:r>
            <a:rPr lang="en-US" dirty="0">
              <a:latin typeface="Aptos"/>
            </a:rPr>
            <a:t>Manufacturing Academy</a:t>
          </a:r>
        </a:p>
      </dgm:t>
    </dgm:pt>
    <dgm:pt modelId="{E648DDD5-6B42-4054-BB97-5232BD8D81B0}" type="parTrans" cxnId="{B83847E2-4B6B-4E1F-BC9D-5F2212B5D866}">
      <dgm:prSet/>
      <dgm:spPr/>
    </dgm:pt>
    <dgm:pt modelId="{64AC9559-DDF1-470F-A71A-B94DD9B32810}" type="sibTrans" cxnId="{B83847E2-4B6B-4E1F-BC9D-5F2212B5D866}">
      <dgm:prSet/>
      <dgm:spPr/>
    </dgm:pt>
    <dgm:pt modelId="{86794478-8ED4-4E56-8869-3CAFEAFCDB87}">
      <dgm:prSet phldr="0"/>
      <dgm:spPr/>
      <dgm:t>
        <a:bodyPr/>
        <a:lstStyle/>
        <a:p>
          <a:pPr algn="l">
            <a:lnSpc>
              <a:spcPct val="90000"/>
            </a:lnSpc>
          </a:pPr>
          <a:r>
            <a:rPr lang="en-US" dirty="0">
              <a:latin typeface="Aptos"/>
            </a:rPr>
            <a:t>Advanced Engineering Systems</a:t>
          </a:r>
        </a:p>
      </dgm:t>
    </dgm:pt>
    <dgm:pt modelId="{944AF6F8-09FA-447D-84E9-3DCAF9931894}" type="parTrans" cxnId="{40948258-5918-4DCA-9720-88E87E4E4D08}">
      <dgm:prSet/>
      <dgm:spPr/>
    </dgm:pt>
    <dgm:pt modelId="{4312B29A-B046-4825-874B-43905A42E812}" type="sibTrans" cxnId="{40948258-5918-4DCA-9720-88E87E4E4D08}">
      <dgm:prSet/>
      <dgm:spPr/>
    </dgm:pt>
    <dgm:pt modelId="{7268B834-5884-40C4-93AE-0B164629E03B}">
      <dgm:prSet phldr="0"/>
      <dgm:spPr/>
      <dgm:t>
        <a:bodyPr/>
        <a:lstStyle/>
        <a:p>
          <a:pPr algn="l">
            <a:lnSpc>
              <a:spcPct val="90000"/>
            </a:lnSpc>
          </a:pPr>
          <a:r>
            <a:rPr lang="en-US" dirty="0">
              <a:latin typeface="Aptos"/>
            </a:rPr>
            <a:t>Robotics and Automation</a:t>
          </a:r>
        </a:p>
      </dgm:t>
    </dgm:pt>
    <dgm:pt modelId="{1497CFE9-20E2-4464-8C1C-0F61D32D8F47}" type="parTrans" cxnId="{1A72D214-516E-4ACF-9AFC-66893B7460FF}">
      <dgm:prSet/>
      <dgm:spPr/>
    </dgm:pt>
    <dgm:pt modelId="{47E3FD6B-C2E6-43EA-B54F-BBE2DD1CB90A}" type="sibTrans" cxnId="{1A72D214-516E-4ACF-9AFC-66893B7460FF}">
      <dgm:prSet/>
      <dgm:spPr/>
    </dgm:pt>
    <dgm:pt modelId="{09ECCEF8-620B-4066-B1EE-57F25C0D0249}">
      <dgm:prSet phldr="0"/>
      <dgm:spPr/>
      <dgm:t>
        <a:bodyPr/>
        <a:lstStyle/>
        <a:p>
          <a:pPr algn="l">
            <a:lnSpc>
              <a:spcPct val="90000"/>
            </a:lnSpc>
          </a:pPr>
          <a:r>
            <a:rPr lang="en-US" dirty="0">
              <a:latin typeface="Aptos"/>
            </a:rPr>
            <a:t>Welding and Metal Fabrication</a:t>
          </a:r>
        </a:p>
      </dgm:t>
    </dgm:pt>
    <dgm:pt modelId="{234ABC85-5B7E-42A4-857C-958C58A4AE54}" type="parTrans" cxnId="{2B344BB3-B5E1-4584-BDBE-1853C15311B6}">
      <dgm:prSet/>
      <dgm:spPr/>
    </dgm:pt>
    <dgm:pt modelId="{DA4633D6-6090-479E-85EB-0FA61F8FAE43}" type="sibTrans" cxnId="{2B344BB3-B5E1-4584-BDBE-1853C15311B6}">
      <dgm:prSet/>
      <dgm:spPr/>
    </dgm:pt>
    <dgm:pt modelId="{B42AA6F5-BE12-4C92-84BD-DE2BBF454399}">
      <dgm:prSet phldr="0"/>
      <dgm:spPr/>
      <dgm:t>
        <a:bodyPr/>
        <a:lstStyle/>
        <a:p>
          <a:pPr algn="l">
            <a:lnSpc>
              <a:spcPct val="90000"/>
            </a:lnSpc>
          </a:pPr>
          <a:r>
            <a:rPr lang="en-US" dirty="0">
              <a:latin typeface="Aptos"/>
            </a:rPr>
            <a:t>IRC Only programming – OTC+</a:t>
          </a:r>
        </a:p>
      </dgm:t>
    </dgm:pt>
    <dgm:pt modelId="{E1CF857E-4D83-4F47-B37D-67BC6175B477}" type="parTrans" cxnId="{EEFF6FA5-D951-4D81-A941-613AC6141C20}">
      <dgm:prSet/>
      <dgm:spPr/>
    </dgm:pt>
    <dgm:pt modelId="{416D5692-91FA-4406-966A-13B45BBD0CB6}" type="sibTrans" cxnId="{EEFF6FA5-D951-4D81-A941-613AC6141C20}">
      <dgm:prSet/>
      <dgm:spPr/>
    </dgm:pt>
    <dgm:pt modelId="{CAB721AB-5E60-4677-B07A-34A7D0DCEEE9}">
      <dgm:prSet phldr="0"/>
      <dgm:spPr/>
      <dgm:t>
        <a:bodyPr/>
        <a:lstStyle/>
        <a:p>
          <a:pPr algn="l">
            <a:lnSpc>
              <a:spcPct val="90000"/>
            </a:lnSpc>
          </a:pPr>
          <a:r>
            <a:rPr lang="en-US" dirty="0">
              <a:latin typeface="Aptos"/>
            </a:rPr>
            <a:t>Robotics Yaskawa Motoman Operator,  Programming</a:t>
          </a:r>
        </a:p>
      </dgm:t>
    </dgm:pt>
    <dgm:pt modelId="{B5A43055-145C-4803-B922-1A26EC6DAA72}" type="parTrans" cxnId="{68E91EA5-087E-45CB-813E-EB59D9045803}">
      <dgm:prSet/>
      <dgm:spPr/>
    </dgm:pt>
    <dgm:pt modelId="{6A65F07F-B3EC-4E87-BCEF-CB38EC5C4691}" type="sibTrans" cxnId="{68E91EA5-087E-45CB-813E-EB59D9045803}">
      <dgm:prSet/>
      <dgm:spPr/>
    </dgm:pt>
    <dgm:pt modelId="{2CED8916-217F-4CC4-873C-FDAC23D80961}">
      <dgm:prSet phldr="0"/>
      <dgm:spPr/>
      <dgm:t>
        <a:bodyPr/>
        <a:lstStyle/>
        <a:p>
          <a:pPr algn="l">
            <a:lnSpc>
              <a:spcPct val="90000"/>
            </a:lnSpc>
          </a:pPr>
          <a:r>
            <a:rPr lang="en-US" dirty="0">
              <a:latin typeface="Aptos"/>
            </a:rPr>
            <a:t>Adult</a:t>
          </a:r>
        </a:p>
      </dgm:t>
    </dgm:pt>
    <dgm:pt modelId="{85FC977F-6AB6-474B-B9D2-673C1F191442}" type="parTrans" cxnId="{84F4CADC-BD44-470F-BDC7-22147092621A}">
      <dgm:prSet/>
      <dgm:spPr/>
    </dgm:pt>
    <dgm:pt modelId="{072ADE3E-4CBB-45CC-A8A0-285AFCCE65E6}" type="sibTrans" cxnId="{84F4CADC-BD44-470F-BDC7-22147092621A}">
      <dgm:prSet/>
      <dgm:spPr/>
    </dgm:pt>
    <dgm:pt modelId="{AEC2C76B-A7B0-4CEA-904A-2D5CCF874447}">
      <dgm:prSet phldr="0"/>
      <dgm:spPr/>
      <dgm:t>
        <a:bodyPr/>
        <a:lstStyle/>
        <a:p>
          <a:pPr algn="l">
            <a:lnSpc>
              <a:spcPct val="90000"/>
            </a:lnSpc>
          </a:pPr>
          <a:r>
            <a:rPr lang="en-US" dirty="0">
              <a:latin typeface="Aptos"/>
            </a:rPr>
            <a:t>Customized Training with QQE</a:t>
          </a:r>
        </a:p>
      </dgm:t>
    </dgm:pt>
    <dgm:pt modelId="{4792BB73-C99E-4DE4-A77A-6D6412772A11}" type="parTrans" cxnId="{783E5356-0FA0-4923-B8EA-7FDA5644EC42}">
      <dgm:prSet/>
      <dgm:spPr/>
    </dgm:pt>
    <dgm:pt modelId="{59E209B1-F594-4BA9-B8D1-8217938BA26F}" type="sibTrans" cxnId="{783E5356-0FA0-4923-B8EA-7FDA5644EC42}">
      <dgm:prSet/>
      <dgm:spPr/>
    </dgm:pt>
    <dgm:pt modelId="{EE0C2985-C3CB-4F1D-A97B-64A523AC6762}">
      <dgm:prSet phldr="0"/>
      <dgm:spPr/>
      <dgm:t>
        <a:bodyPr/>
        <a:lstStyle/>
        <a:p>
          <a:pPr algn="l">
            <a:lnSpc>
              <a:spcPct val="90000"/>
            </a:lnSpc>
          </a:pPr>
          <a:r>
            <a:rPr lang="en-US" dirty="0">
              <a:latin typeface="Aptos"/>
            </a:rPr>
            <a:t>DRMA, Clark State, SOCHE</a:t>
          </a:r>
        </a:p>
      </dgm:t>
    </dgm:pt>
    <dgm:pt modelId="{F30C4503-EB0C-4A44-B419-1CF32EA3428E}" type="parTrans" cxnId="{593B9EDE-880F-4343-8D89-386E3AC44252}">
      <dgm:prSet/>
      <dgm:spPr/>
    </dgm:pt>
    <dgm:pt modelId="{F8C15938-BA19-4835-A65A-51E7D399C419}" type="sibTrans" cxnId="{593B9EDE-880F-4343-8D89-386E3AC44252}">
      <dgm:prSet/>
      <dgm:spPr/>
    </dgm:pt>
    <dgm:pt modelId="{D73E51DE-B10B-42A5-A88F-ECD2AB9DE996}" type="pres">
      <dgm:prSet presAssocID="{6469BBFC-5A42-44E6-B01E-6CBFFA266FD3}" presName="CompostProcess" presStyleCnt="0">
        <dgm:presLayoutVars>
          <dgm:dir/>
          <dgm:resizeHandles val="exact"/>
        </dgm:presLayoutVars>
      </dgm:prSet>
      <dgm:spPr/>
    </dgm:pt>
    <dgm:pt modelId="{BCB55028-1752-41DE-9514-C28D07490EB0}" type="pres">
      <dgm:prSet presAssocID="{6469BBFC-5A42-44E6-B01E-6CBFFA266FD3}" presName="arrow" presStyleLbl="bgShp" presStyleIdx="0" presStyleCnt="1"/>
      <dgm:spPr/>
    </dgm:pt>
    <dgm:pt modelId="{B2A5F0D8-D38E-4C1F-A56D-49EC2B1C1830}" type="pres">
      <dgm:prSet presAssocID="{6469BBFC-5A42-44E6-B01E-6CBFFA266FD3}" presName="linearProcess" presStyleCnt="0"/>
      <dgm:spPr/>
    </dgm:pt>
    <dgm:pt modelId="{18DADEA6-4EF4-4266-9C3D-EBA7FCEC7336}" type="pres">
      <dgm:prSet presAssocID="{E520ABBA-799C-4C10-9A90-5592C61C3876}" presName="textNode" presStyleLbl="node1" presStyleIdx="0" presStyleCnt="5">
        <dgm:presLayoutVars>
          <dgm:bulletEnabled val="1"/>
        </dgm:presLayoutVars>
      </dgm:prSet>
      <dgm:spPr/>
    </dgm:pt>
    <dgm:pt modelId="{28D5DD03-0928-4AF4-8407-4C13924C8AF2}" type="pres">
      <dgm:prSet presAssocID="{032F1E0E-B820-4A11-858A-5276775CD15E}" presName="sibTrans" presStyleCnt="0"/>
      <dgm:spPr/>
    </dgm:pt>
    <dgm:pt modelId="{6551F681-4907-4E42-BDBE-A674371BDE1C}" type="pres">
      <dgm:prSet presAssocID="{B19FCAAB-E026-4DBB-8CBE-30BF116D201D}" presName="textNode" presStyleLbl="node1" presStyleIdx="1" presStyleCnt="5">
        <dgm:presLayoutVars>
          <dgm:bulletEnabled val="1"/>
        </dgm:presLayoutVars>
      </dgm:prSet>
      <dgm:spPr/>
    </dgm:pt>
    <dgm:pt modelId="{A6E109D9-2638-4DC2-906E-BD1EBC52C6CF}" type="pres">
      <dgm:prSet presAssocID="{89210CAA-2E93-4F04-8CEA-91BC1F9CE937}" presName="sibTrans" presStyleCnt="0"/>
      <dgm:spPr/>
    </dgm:pt>
    <dgm:pt modelId="{DDF31AC2-8AB6-4ADE-A25C-65A4D69DB23A}" type="pres">
      <dgm:prSet presAssocID="{C6DF05AB-B690-4C3F-B980-3F88633BF707}" presName="textNode" presStyleLbl="node1" presStyleIdx="2" presStyleCnt="5">
        <dgm:presLayoutVars>
          <dgm:bulletEnabled val="1"/>
        </dgm:presLayoutVars>
      </dgm:prSet>
      <dgm:spPr/>
    </dgm:pt>
    <dgm:pt modelId="{107AFD1A-A0AF-46D3-BC74-63B3C32E9C38}" type="pres">
      <dgm:prSet presAssocID="{5C1C6AEE-6E41-4299-8B0B-A1937E4B7EFA}" presName="sibTrans" presStyleCnt="0"/>
      <dgm:spPr/>
    </dgm:pt>
    <dgm:pt modelId="{2E0370E3-3641-460E-84E0-DB2FA4D59F3B}" type="pres">
      <dgm:prSet presAssocID="{344CEECD-9FFB-4564-9F92-4F6D992104BF}" presName="textNode" presStyleLbl="node1" presStyleIdx="3" presStyleCnt="5">
        <dgm:presLayoutVars>
          <dgm:bulletEnabled val="1"/>
        </dgm:presLayoutVars>
      </dgm:prSet>
      <dgm:spPr/>
    </dgm:pt>
    <dgm:pt modelId="{A1DC9224-2496-429F-9339-B1967EEF763A}" type="pres">
      <dgm:prSet presAssocID="{B1C159F9-908E-4F04-99DD-9BE529E97946}" presName="sibTrans" presStyleCnt="0"/>
      <dgm:spPr/>
    </dgm:pt>
    <dgm:pt modelId="{CDADD740-334A-4225-9B7F-F118BBDA2157}" type="pres">
      <dgm:prSet presAssocID="{2CED8916-217F-4CC4-873C-FDAC23D80961}" presName="textNode" presStyleLbl="node1" presStyleIdx="4" presStyleCnt="5">
        <dgm:presLayoutVars>
          <dgm:bulletEnabled val="1"/>
        </dgm:presLayoutVars>
      </dgm:prSet>
      <dgm:spPr/>
    </dgm:pt>
  </dgm:ptLst>
  <dgm:cxnLst>
    <dgm:cxn modelId="{9DD72901-25E0-4190-B127-1DA18476DC1D}" type="presOf" srcId="{86794478-8ED4-4E56-8869-3CAFEAFCDB87}" destId="{2E0370E3-3641-460E-84E0-DB2FA4D59F3B}" srcOrd="0" destOrd="2" presId="urn:microsoft.com/office/officeart/2005/8/layout/hProcess9"/>
    <dgm:cxn modelId="{71B86203-57EA-47FC-9531-0F5363C824DB}" type="presOf" srcId="{B42AA6F5-BE12-4C92-84BD-DE2BBF454399}" destId="{2E0370E3-3641-460E-84E0-DB2FA4D59F3B}" srcOrd="0" destOrd="5" presId="urn:microsoft.com/office/officeart/2005/8/layout/hProcess9"/>
    <dgm:cxn modelId="{5B245806-977F-4212-B5B9-B12318D3A7D7}" type="presOf" srcId="{EE0C2985-C3CB-4F1D-A97B-64A523AC6762}" destId="{CDADD740-334A-4225-9B7F-F118BBDA2157}" srcOrd="0" destOrd="2" presId="urn:microsoft.com/office/officeart/2005/8/layout/hProcess9"/>
    <dgm:cxn modelId="{637DEB09-C92F-4EA7-859A-C56B1140338C}" type="presOf" srcId="{C6DF05AB-B690-4C3F-B980-3F88633BF707}" destId="{DDF31AC2-8AB6-4ADE-A25C-65A4D69DB23A}" srcOrd="0" destOrd="0" presId="urn:microsoft.com/office/officeart/2005/8/layout/hProcess9"/>
    <dgm:cxn modelId="{30CAE70A-D300-42E3-8644-5E58562BE3E9}" type="presOf" srcId="{AEC2C76B-A7B0-4CEA-904A-2D5CCF874447}" destId="{CDADD740-334A-4225-9B7F-F118BBDA2157}" srcOrd="0" destOrd="1" presId="urn:microsoft.com/office/officeart/2005/8/layout/hProcess9"/>
    <dgm:cxn modelId="{4882F811-6810-4165-B43E-BEA54F9493B9}" type="presOf" srcId="{27A61A05-49C6-4D3E-BCFB-D5CE36FA3B65}" destId="{2E0370E3-3641-460E-84E0-DB2FA4D59F3B}" srcOrd="0" destOrd="1" presId="urn:microsoft.com/office/officeart/2005/8/layout/hProcess9"/>
    <dgm:cxn modelId="{1F432613-66E2-4D88-AB1A-12EB284F6BE8}" srcId="{E520ABBA-799C-4C10-9A90-5592C61C3876}" destId="{830E3467-5DC4-40DB-81AE-43EB2181CAD6}" srcOrd="1" destOrd="0" parTransId="{47245101-097E-4141-B323-7B799EB95A7E}" sibTransId="{F978B906-14F1-41DF-803B-BB9CEC602018}"/>
    <dgm:cxn modelId="{1A72D214-516E-4ACF-9AFC-66893B7460FF}" srcId="{27A61A05-49C6-4D3E-BCFB-D5CE36FA3B65}" destId="{7268B834-5884-40C4-93AE-0B164629E03B}" srcOrd="1" destOrd="0" parTransId="{1497CFE9-20E2-4464-8C1C-0F61D32D8F47}" sibTransId="{47E3FD6B-C2E6-43EA-B54F-BBE2DD1CB90A}"/>
    <dgm:cxn modelId="{03629F1B-F46E-4127-B446-A8DCAF45C5C4}" type="presOf" srcId="{7268B834-5884-40C4-93AE-0B164629E03B}" destId="{2E0370E3-3641-460E-84E0-DB2FA4D59F3B}" srcOrd="0" destOrd="3" presId="urn:microsoft.com/office/officeart/2005/8/layout/hProcess9"/>
    <dgm:cxn modelId="{FA99572B-C45F-4075-A8D6-D4B4298184F8}" srcId="{C6DF05AB-B690-4C3F-B980-3F88633BF707}" destId="{218FE6E4-DDBF-441A-B1BC-7B64CC25E3C7}" srcOrd="0" destOrd="0" parTransId="{BB7F30ED-239E-4688-8606-D4FEF8AB81AF}" sibTransId="{C9469F3F-6C48-48C1-9529-C01BFFF2F9FD}"/>
    <dgm:cxn modelId="{6A516338-6FDF-4A05-A961-5B090085C300}" srcId="{6469BBFC-5A42-44E6-B01E-6CBFFA266FD3}" destId="{C6DF05AB-B690-4C3F-B980-3F88633BF707}" srcOrd="2" destOrd="0" parTransId="{11CB3432-3C18-4A50-8DDC-57633C0C0909}" sibTransId="{5C1C6AEE-6E41-4299-8B0B-A1937E4B7EFA}"/>
    <dgm:cxn modelId="{B02BB940-C7B6-4C9C-8C95-B89375FD31C2}" srcId="{E520ABBA-799C-4C10-9A90-5592C61C3876}" destId="{D927CCA3-8C68-4D52-890F-1BE669546474}" srcOrd="0" destOrd="0" parTransId="{023BAC43-B9DA-4E93-BA88-90EEF13EC80C}" sibTransId="{CD9E8A3F-15E5-4028-8C3E-EB6C0BCAC5B4}"/>
    <dgm:cxn modelId="{BBF3BD5C-3608-42F0-B7A5-4FE16AEAAF72}" srcId="{B19FCAAB-E026-4DBB-8CBE-30BF116D201D}" destId="{8AC1EB35-529D-4F98-BBB8-F144BE1EB665}" srcOrd="0" destOrd="0" parTransId="{99F12CE2-7AC2-4755-B152-D2416348E58B}" sibTransId="{6DC7B55E-7A0E-4A94-B2E7-5E778B6C6359}"/>
    <dgm:cxn modelId="{6D82084C-D5EF-4B81-88E8-586AA14B7926}" srcId="{D4A8818C-E3BF-4650-9272-F2D38E4EB7E7}" destId="{DD184371-F67C-4B33-B8BD-544912E7047C}" srcOrd="0" destOrd="0" parTransId="{7FA85EAA-D619-410E-8289-E4AE70A53905}" sibTransId="{63B3E905-9D56-47C5-A8B7-36E6B3FDD285}"/>
    <dgm:cxn modelId="{ED3E6F4D-C36E-41E3-9AFE-6CC932EC8A63}" type="presOf" srcId="{B19FCAAB-E026-4DBB-8CBE-30BF116D201D}" destId="{6551F681-4907-4E42-BDBE-A674371BDE1C}" srcOrd="0" destOrd="0" presId="urn:microsoft.com/office/officeart/2005/8/layout/hProcess9"/>
    <dgm:cxn modelId="{A4BA376F-0311-48CF-A7E1-705A5F38308D}" type="presOf" srcId="{218FE6E4-DDBF-441A-B1BC-7B64CC25E3C7}" destId="{DDF31AC2-8AB6-4ADE-A25C-65A4D69DB23A}" srcOrd="0" destOrd="1" presId="urn:microsoft.com/office/officeart/2005/8/layout/hProcess9"/>
    <dgm:cxn modelId="{3D1F9052-73C6-48A1-A455-B557A713976B}" srcId="{6469BBFC-5A42-44E6-B01E-6CBFFA266FD3}" destId="{344CEECD-9FFB-4564-9F92-4F6D992104BF}" srcOrd="3" destOrd="0" parTransId="{E3F23D81-8F86-49E3-8E0C-E26BE0164651}" sibTransId="{B1C159F9-908E-4F04-99DD-9BE529E97946}"/>
    <dgm:cxn modelId="{783E5356-0FA0-4923-B8EA-7FDA5644EC42}" srcId="{2CED8916-217F-4CC4-873C-FDAC23D80961}" destId="{AEC2C76B-A7B0-4CEA-904A-2D5CCF874447}" srcOrd="0" destOrd="0" parTransId="{4792BB73-C99E-4DE4-A77A-6D6412772A11}" sibTransId="{59E209B1-F594-4BA9-B8D1-8217938BA26F}"/>
    <dgm:cxn modelId="{40948258-5918-4DCA-9720-88E87E4E4D08}" srcId="{27A61A05-49C6-4D3E-BCFB-D5CE36FA3B65}" destId="{86794478-8ED4-4E56-8869-3CAFEAFCDB87}" srcOrd="0" destOrd="0" parTransId="{944AF6F8-09FA-447D-84E9-3DCAF9931894}" sibTransId="{4312B29A-B046-4825-874B-43905A42E812}"/>
    <dgm:cxn modelId="{4E848781-973A-4A32-9251-17FFED0B3C50}" type="presOf" srcId="{6469BBFC-5A42-44E6-B01E-6CBFFA266FD3}" destId="{D73E51DE-B10B-42A5-A88F-ECD2AB9DE996}" srcOrd="0" destOrd="0" presId="urn:microsoft.com/office/officeart/2005/8/layout/hProcess9"/>
    <dgm:cxn modelId="{4E843382-3820-4814-B334-CD16EBE6563A}" type="presOf" srcId="{CAB721AB-5E60-4677-B07A-34A7D0DCEEE9}" destId="{2E0370E3-3641-460E-84E0-DB2FA4D59F3B}" srcOrd="0" destOrd="6" presId="urn:microsoft.com/office/officeart/2005/8/layout/hProcess9"/>
    <dgm:cxn modelId="{59398282-48FB-473A-B81F-B9BEF7575572}" type="presOf" srcId="{09ECCEF8-620B-4066-B1EE-57F25C0D0249}" destId="{2E0370E3-3641-460E-84E0-DB2FA4D59F3B}" srcOrd="0" destOrd="4" presId="urn:microsoft.com/office/officeart/2005/8/layout/hProcess9"/>
    <dgm:cxn modelId="{B9959686-7A6A-4916-9E37-E74AB8105C8B}" type="presOf" srcId="{830E3467-5DC4-40DB-81AE-43EB2181CAD6}" destId="{18DADEA6-4EF4-4266-9C3D-EBA7FCEC7336}" srcOrd="0" destOrd="2" presId="urn:microsoft.com/office/officeart/2005/8/layout/hProcess9"/>
    <dgm:cxn modelId="{A581C092-41AF-44E7-9C06-44DEA2510D1F}" type="presOf" srcId="{8AC1EB35-529D-4F98-BBB8-F144BE1EB665}" destId="{6551F681-4907-4E42-BDBE-A674371BDE1C}" srcOrd="0" destOrd="1" presId="urn:microsoft.com/office/officeart/2005/8/layout/hProcess9"/>
    <dgm:cxn modelId="{0965B899-CC34-4D6B-8DBE-930CC93E12B4}" type="presOf" srcId="{DD184371-F67C-4B33-B8BD-544912E7047C}" destId="{6551F681-4907-4E42-BDBE-A674371BDE1C}" srcOrd="0" destOrd="3" presId="urn:microsoft.com/office/officeart/2005/8/layout/hProcess9"/>
    <dgm:cxn modelId="{8AA88F9B-D79B-490C-A3CB-B356AB214E1C}" type="presOf" srcId="{2CED8916-217F-4CC4-873C-FDAC23D80961}" destId="{CDADD740-334A-4225-9B7F-F118BBDA2157}" srcOrd="0" destOrd="0" presId="urn:microsoft.com/office/officeart/2005/8/layout/hProcess9"/>
    <dgm:cxn modelId="{68E91EA5-087E-45CB-813E-EB59D9045803}" srcId="{B42AA6F5-BE12-4C92-84BD-DE2BBF454399}" destId="{CAB721AB-5E60-4677-B07A-34A7D0DCEEE9}" srcOrd="0" destOrd="0" parTransId="{B5A43055-145C-4803-B922-1A26EC6DAA72}" sibTransId="{6A65F07F-B3EC-4E87-BCEF-CB38EC5C4691}"/>
    <dgm:cxn modelId="{EEFF6FA5-D951-4D81-A941-613AC6141C20}" srcId="{344CEECD-9FFB-4564-9F92-4F6D992104BF}" destId="{B42AA6F5-BE12-4C92-84BD-DE2BBF454399}" srcOrd="1" destOrd="0" parTransId="{E1CF857E-4D83-4F47-B37D-67BC6175B477}" sibTransId="{416D5692-91FA-4406-966A-13B45BBD0CB6}"/>
    <dgm:cxn modelId="{29F85FA6-CF49-4C12-A7E3-0E97C79AB681}" srcId="{6469BBFC-5A42-44E6-B01E-6CBFFA266FD3}" destId="{B19FCAAB-E026-4DBB-8CBE-30BF116D201D}" srcOrd="1" destOrd="0" parTransId="{33548433-80AC-43F2-BF1F-BA6A71397D63}" sibTransId="{89210CAA-2E93-4F04-8CEA-91BC1F9CE937}"/>
    <dgm:cxn modelId="{2B344BB3-B5E1-4584-BDBE-1853C15311B6}" srcId="{27A61A05-49C6-4D3E-BCFB-D5CE36FA3B65}" destId="{09ECCEF8-620B-4066-B1EE-57F25C0D0249}" srcOrd="2" destOrd="0" parTransId="{234ABC85-5B7E-42A4-857C-958C58A4AE54}" sibTransId="{DA4633D6-6090-479E-85EB-0FA61F8FAE43}"/>
    <dgm:cxn modelId="{4DA992BA-0C57-4F84-8695-7779BF780EDC}" type="presOf" srcId="{D6FADADE-17CF-4127-B0B1-72A62420D1F1}" destId="{6551F681-4907-4E42-BDBE-A674371BDE1C}" srcOrd="0" destOrd="4" presId="urn:microsoft.com/office/officeart/2005/8/layout/hProcess9"/>
    <dgm:cxn modelId="{40BB34C6-D379-4F39-A3BD-0C1D99B28472}" srcId="{B19FCAAB-E026-4DBB-8CBE-30BF116D201D}" destId="{D4A8818C-E3BF-4650-9272-F2D38E4EB7E7}" srcOrd="1" destOrd="0" parTransId="{E5F4D458-63A7-4886-BA52-D60AC1BAC61E}" sibTransId="{70CEB250-50AE-416D-AF2E-43DF0150F487}"/>
    <dgm:cxn modelId="{016D1FCB-DCA1-4A5E-B32F-DED1AE1860D6}" type="presOf" srcId="{344CEECD-9FFB-4564-9F92-4F6D992104BF}" destId="{2E0370E3-3641-460E-84E0-DB2FA4D59F3B}" srcOrd="0" destOrd="0" presId="urn:microsoft.com/office/officeart/2005/8/layout/hProcess9"/>
    <dgm:cxn modelId="{35E614D0-D739-4431-9A8B-44B87EC0E0DA}" srcId="{6469BBFC-5A42-44E6-B01E-6CBFFA266FD3}" destId="{E520ABBA-799C-4C10-9A90-5592C61C3876}" srcOrd="0" destOrd="0" parTransId="{4E25DFF0-03D1-4BD2-935D-F7DC5C6AF640}" sibTransId="{032F1E0E-B820-4A11-858A-5276775CD15E}"/>
    <dgm:cxn modelId="{9E3F14D5-8C63-482D-B638-D22564499CBC}" type="presOf" srcId="{D4A8818C-E3BF-4650-9272-F2D38E4EB7E7}" destId="{6551F681-4907-4E42-BDBE-A674371BDE1C}" srcOrd="0" destOrd="2" presId="urn:microsoft.com/office/officeart/2005/8/layout/hProcess9"/>
    <dgm:cxn modelId="{84F4CADC-BD44-470F-BDC7-22147092621A}" srcId="{6469BBFC-5A42-44E6-B01E-6CBFFA266FD3}" destId="{2CED8916-217F-4CC4-873C-FDAC23D80961}" srcOrd="4" destOrd="0" parTransId="{85FC977F-6AB6-474B-B9D2-673C1F191442}" sibTransId="{072ADE3E-4CBB-45CC-A8A0-285AFCCE65E6}"/>
    <dgm:cxn modelId="{593B9EDE-880F-4343-8D89-386E3AC44252}" srcId="{AEC2C76B-A7B0-4CEA-904A-2D5CCF874447}" destId="{EE0C2985-C3CB-4F1D-A97B-64A523AC6762}" srcOrd="0" destOrd="0" parTransId="{F30C4503-EB0C-4A44-B419-1CF32EA3428E}" sibTransId="{F8C15938-BA19-4835-A65A-51E7D399C419}"/>
    <dgm:cxn modelId="{3C0A5EE1-F7FB-4D50-835A-B35C678D2AC0}" type="presOf" srcId="{D927CCA3-8C68-4D52-890F-1BE669546474}" destId="{18DADEA6-4EF4-4266-9C3D-EBA7FCEC7336}" srcOrd="0" destOrd="1" presId="urn:microsoft.com/office/officeart/2005/8/layout/hProcess9"/>
    <dgm:cxn modelId="{B83847E2-4B6B-4E1F-BC9D-5F2212B5D866}" srcId="{344CEECD-9FFB-4564-9F92-4F6D992104BF}" destId="{27A61A05-49C6-4D3E-BCFB-D5CE36FA3B65}" srcOrd="0" destOrd="0" parTransId="{E648DDD5-6B42-4054-BB97-5232BD8D81B0}" sibTransId="{64AC9559-DDF1-470F-A71A-B94DD9B32810}"/>
    <dgm:cxn modelId="{95408FEC-F575-41F0-8B43-786D5860378B}" type="presOf" srcId="{E520ABBA-799C-4C10-9A90-5592C61C3876}" destId="{18DADEA6-4EF4-4266-9C3D-EBA7FCEC7336}" srcOrd="0" destOrd="0" presId="urn:microsoft.com/office/officeart/2005/8/layout/hProcess9"/>
    <dgm:cxn modelId="{85C63FF8-6320-44C8-980B-9EB10C8B965D}" srcId="{D4A8818C-E3BF-4650-9272-F2D38E4EB7E7}" destId="{D6FADADE-17CF-4127-B0B1-72A62420D1F1}" srcOrd="1" destOrd="0" parTransId="{4C7058C5-F9C3-4A59-935D-9B116EADBC5A}" sibTransId="{6E15590F-5722-43C6-9E49-AB1889722095}"/>
    <dgm:cxn modelId="{668D02B6-5379-48A7-87AC-BC34354F11F2}" type="presParOf" srcId="{D73E51DE-B10B-42A5-A88F-ECD2AB9DE996}" destId="{BCB55028-1752-41DE-9514-C28D07490EB0}" srcOrd="0" destOrd="0" presId="urn:microsoft.com/office/officeart/2005/8/layout/hProcess9"/>
    <dgm:cxn modelId="{89E6F875-1FD6-4EA9-86C3-688B8BC73839}" type="presParOf" srcId="{D73E51DE-B10B-42A5-A88F-ECD2AB9DE996}" destId="{B2A5F0D8-D38E-4C1F-A56D-49EC2B1C1830}" srcOrd="1" destOrd="0" presId="urn:microsoft.com/office/officeart/2005/8/layout/hProcess9"/>
    <dgm:cxn modelId="{9A99F4DF-5C87-4E91-A251-253F45998182}" type="presParOf" srcId="{B2A5F0D8-D38E-4C1F-A56D-49EC2B1C1830}" destId="{18DADEA6-4EF4-4266-9C3D-EBA7FCEC7336}" srcOrd="0" destOrd="0" presId="urn:microsoft.com/office/officeart/2005/8/layout/hProcess9"/>
    <dgm:cxn modelId="{453EABDA-49D2-4A80-877B-89682AD51CAB}" type="presParOf" srcId="{B2A5F0D8-D38E-4C1F-A56D-49EC2B1C1830}" destId="{28D5DD03-0928-4AF4-8407-4C13924C8AF2}" srcOrd="1" destOrd="0" presId="urn:microsoft.com/office/officeart/2005/8/layout/hProcess9"/>
    <dgm:cxn modelId="{11ACD5B5-CE18-4987-8E10-0A2C7A80D0FD}" type="presParOf" srcId="{B2A5F0D8-D38E-4C1F-A56D-49EC2B1C1830}" destId="{6551F681-4907-4E42-BDBE-A674371BDE1C}" srcOrd="2" destOrd="0" presId="urn:microsoft.com/office/officeart/2005/8/layout/hProcess9"/>
    <dgm:cxn modelId="{BDF6E3A0-7A99-40B8-8896-05050F33E0C7}" type="presParOf" srcId="{B2A5F0D8-D38E-4C1F-A56D-49EC2B1C1830}" destId="{A6E109D9-2638-4DC2-906E-BD1EBC52C6CF}" srcOrd="3" destOrd="0" presId="urn:microsoft.com/office/officeart/2005/8/layout/hProcess9"/>
    <dgm:cxn modelId="{FA3F2055-8DE6-4052-9519-9EF5EBC69309}" type="presParOf" srcId="{B2A5F0D8-D38E-4C1F-A56D-49EC2B1C1830}" destId="{DDF31AC2-8AB6-4ADE-A25C-65A4D69DB23A}" srcOrd="4" destOrd="0" presId="urn:microsoft.com/office/officeart/2005/8/layout/hProcess9"/>
    <dgm:cxn modelId="{AD143259-0366-4E22-B84C-19956BF39592}" type="presParOf" srcId="{B2A5F0D8-D38E-4C1F-A56D-49EC2B1C1830}" destId="{107AFD1A-A0AF-46D3-BC74-63B3C32E9C38}" srcOrd="5" destOrd="0" presId="urn:microsoft.com/office/officeart/2005/8/layout/hProcess9"/>
    <dgm:cxn modelId="{FCD922D6-5109-4FE1-953F-0AC976041135}" type="presParOf" srcId="{B2A5F0D8-D38E-4C1F-A56D-49EC2B1C1830}" destId="{2E0370E3-3641-460E-84E0-DB2FA4D59F3B}" srcOrd="6" destOrd="0" presId="urn:microsoft.com/office/officeart/2005/8/layout/hProcess9"/>
    <dgm:cxn modelId="{FA32FD32-F60B-4D7C-B285-6DE017254401}" type="presParOf" srcId="{B2A5F0D8-D38E-4C1F-A56D-49EC2B1C1830}" destId="{A1DC9224-2496-429F-9339-B1967EEF763A}" srcOrd="7" destOrd="0" presId="urn:microsoft.com/office/officeart/2005/8/layout/hProcess9"/>
    <dgm:cxn modelId="{1396FA94-CB8E-4A5B-8868-E359B55E3C13}" type="presParOf" srcId="{B2A5F0D8-D38E-4C1F-A56D-49EC2B1C1830}" destId="{CDADD740-334A-4225-9B7F-F118BBDA2157}"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2A3DF5-0003-4DBA-BF3F-32C24C9A7484}">
      <dsp:nvSpPr>
        <dsp:cNvPr id="0" name=""/>
        <dsp:cNvSpPr/>
      </dsp:nvSpPr>
      <dsp:spPr>
        <a:xfrm>
          <a:off x="0" y="2527300"/>
          <a:ext cx="8958382" cy="0"/>
        </a:xfrm>
        <a:prstGeom prst="line">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02117495-2C03-45EB-9D38-3F8C737D0B9D}">
      <dsp:nvSpPr>
        <dsp:cNvPr id="0" name=""/>
        <dsp:cNvSpPr/>
      </dsp:nvSpPr>
      <dsp:spPr>
        <a:xfrm>
          <a:off x="72939" y="2714320"/>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1</a:t>
          </a:r>
        </a:p>
      </dsp:txBody>
      <dsp:txXfrm>
        <a:off x="72939" y="2714320"/>
        <a:ext cx="1068182" cy="571169"/>
      </dsp:txXfrm>
    </dsp:sp>
    <dsp:sp modelId="{851592A8-800B-4949-8033-0F177B21FCA2}">
      <dsp:nvSpPr>
        <dsp:cNvPr id="0" name=""/>
        <dsp:cNvSpPr/>
      </dsp:nvSpPr>
      <dsp:spPr>
        <a:xfrm>
          <a:off x="109" y="705116"/>
          <a:ext cx="1213843" cy="861809"/>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dirty="0">
              <a:latin typeface="Aptos Display" panose="020F0302020204030204"/>
            </a:rPr>
            <a:t>NNME infrastructure built</a:t>
          </a:r>
          <a:endParaRPr lang="en-US" sz="1200" b="1" kern="1200" dirty="0"/>
        </a:p>
      </dsp:txBody>
      <dsp:txXfrm>
        <a:off x="42179" y="747186"/>
        <a:ext cx="1129703" cy="777669"/>
      </dsp:txXfrm>
    </dsp:sp>
    <dsp:sp modelId="{93B7B749-7B63-40FF-A248-356BFDFFDCA3}">
      <dsp:nvSpPr>
        <dsp:cNvPr id="0" name=""/>
        <dsp:cNvSpPr/>
      </dsp:nvSpPr>
      <dsp:spPr>
        <a:xfrm>
          <a:off x="607030" y="1566926"/>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402B45B8-DDF6-46BF-8649-85E6319DB434}">
      <dsp:nvSpPr>
        <dsp:cNvPr id="0" name=""/>
        <dsp:cNvSpPr/>
      </dsp:nvSpPr>
      <dsp:spPr>
        <a:xfrm>
          <a:off x="776969" y="1769109"/>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1</a:t>
          </a:r>
        </a:p>
      </dsp:txBody>
      <dsp:txXfrm>
        <a:off x="776969" y="1769109"/>
        <a:ext cx="1068182" cy="571169"/>
      </dsp:txXfrm>
    </dsp:sp>
    <dsp:sp modelId="{491C9692-CE1D-40A0-9FB6-9D8A67F31240}">
      <dsp:nvSpPr>
        <dsp:cNvPr id="0" name=""/>
        <dsp:cNvSpPr/>
      </dsp:nvSpPr>
      <dsp:spPr>
        <a:xfrm>
          <a:off x="569121"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D04FFC-FEEB-47C4-9877-6E99BA0852F2}">
      <dsp:nvSpPr>
        <dsp:cNvPr id="0" name=""/>
        <dsp:cNvSpPr/>
      </dsp:nvSpPr>
      <dsp:spPr>
        <a:xfrm>
          <a:off x="704138" y="3487674"/>
          <a:ext cx="1213843" cy="861809"/>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latin typeface="Aptos Display" panose="020F0302020204030204"/>
            </a:rPr>
            <a:t>NNME Team Hired</a:t>
          </a:r>
          <a:endParaRPr lang="en-US" sz="1200" b="1" kern="1200"/>
        </a:p>
      </dsp:txBody>
      <dsp:txXfrm>
        <a:off x="746208" y="3529744"/>
        <a:ext cx="1129703" cy="777669"/>
      </dsp:txXfrm>
    </dsp:sp>
    <dsp:sp modelId="{B5491679-479B-4918-B26B-91E4BAACBCA2}">
      <dsp:nvSpPr>
        <dsp:cNvPr id="0" name=""/>
        <dsp:cNvSpPr/>
      </dsp:nvSpPr>
      <dsp:spPr>
        <a:xfrm>
          <a:off x="1311060" y="2527299"/>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BDFD85EC-013F-4995-AE86-0F65C1B7A7F7}">
      <dsp:nvSpPr>
        <dsp:cNvPr id="0" name=""/>
        <dsp:cNvSpPr/>
      </dsp:nvSpPr>
      <dsp:spPr>
        <a:xfrm>
          <a:off x="1480998" y="2714320"/>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2</a:t>
          </a:r>
        </a:p>
      </dsp:txBody>
      <dsp:txXfrm>
        <a:off x="1480998" y="2714320"/>
        <a:ext cx="1068182" cy="571169"/>
      </dsp:txXfrm>
    </dsp:sp>
    <dsp:sp modelId="{2028862D-B925-4921-8992-4EBF035DE8C9}">
      <dsp:nvSpPr>
        <dsp:cNvPr id="0" name=""/>
        <dsp:cNvSpPr/>
      </dsp:nvSpPr>
      <dsp:spPr>
        <a:xfrm>
          <a:off x="1273150"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AA996E-5944-448E-94B4-30623914FCD7}">
      <dsp:nvSpPr>
        <dsp:cNvPr id="0" name=""/>
        <dsp:cNvSpPr/>
      </dsp:nvSpPr>
      <dsp:spPr>
        <a:xfrm>
          <a:off x="1408167" y="705116"/>
          <a:ext cx="1213843" cy="861809"/>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latin typeface="Aptos Display" panose="020F0302020204030204"/>
            </a:rPr>
            <a:t>Node Competition</a:t>
          </a:r>
          <a:endParaRPr lang="en-US" sz="1200" b="1" kern="1200"/>
        </a:p>
      </dsp:txBody>
      <dsp:txXfrm>
        <a:off x="1450237" y="747186"/>
        <a:ext cx="1129703" cy="777669"/>
      </dsp:txXfrm>
    </dsp:sp>
    <dsp:sp modelId="{6742855A-45E4-42A9-91EF-A9F27B9AA705}">
      <dsp:nvSpPr>
        <dsp:cNvPr id="0" name=""/>
        <dsp:cNvSpPr/>
      </dsp:nvSpPr>
      <dsp:spPr>
        <a:xfrm>
          <a:off x="2015089" y="1566926"/>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6F5250A7-5B2E-401F-A5C5-D29AD5CBAF71}">
      <dsp:nvSpPr>
        <dsp:cNvPr id="0" name=""/>
        <dsp:cNvSpPr/>
      </dsp:nvSpPr>
      <dsp:spPr>
        <a:xfrm>
          <a:off x="2185027" y="1769109"/>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2</a:t>
          </a:r>
        </a:p>
      </dsp:txBody>
      <dsp:txXfrm>
        <a:off x="2185027" y="1769109"/>
        <a:ext cx="1068182" cy="571169"/>
      </dsp:txXfrm>
    </dsp:sp>
    <dsp:sp modelId="{66066EC4-7581-4064-A630-9CBD32EF3F39}">
      <dsp:nvSpPr>
        <dsp:cNvPr id="0" name=""/>
        <dsp:cNvSpPr/>
      </dsp:nvSpPr>
      <dsp:spPr>
        <a:xfrm>
          <a:off x="1977179"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99AAA0-789C-4F0A-8031-BA508144999C}">
      <dsp:nvSpPr>
        <dsp:cNvPr id="0" name=""/>
        <dsp:cNvSpPr/>
      </dsp:nvSpPr>
      <dsp:spPr>
        <a:xfrm>
          <a:off x="2112196" y="3487674"/>
          <a:ext cx="1213843" cy="861809"/>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latin typeface="Aptos Display" panose="020F0302020204030204"/>
            </a:rPr>
            <a:t>Buildout of web presence and portals</a:t>
          </a:r>
          <a:endParaRPr lang="en-US" sz="1200" b="1" kern="1200"/>
        </a:p>
      </dsp:txBody>
      <dsp:txXfrm>
        <a:off x="2154266" y="3529744"/>
        <a:ext cx="1129703" cy="777669"/>
      </dsp:txXfrm>
    </dsp:sp>
    <dsp:sp modelId="{EF0D61A1-6307-44A1-A4CC-EB8BE480E3DA}">
      <dsp:nvSpPr>
        <dsp:cNvPr id="0" name=""/>
        <dsp:cNvSpPr/>
      </dsp:nvSpPr>
      <dsp:spPr>
        <a:xfrm>
          <a:off x="2719118" y="2527299"/>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47699920-02E4-4B73-B16B-D018CDA56710}">
      <dsp:nvSpPr>
        <dsp:cNvPr id="0" name=""/>
        <dsp:cNvSpPr/>
      </dsp:nvSpPr>
      <dsp:spPr>
        <a:xfrm>
          <a:off x="2889056" y="2714320"/>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2 </a:t>
          </a:r>
        </a:p>
      </dsp:txBody>
      <dsp:txXfrm>
        <a:off x="2889056" y="2714320"/>
        <a:ext cx="1068182" cy="571169"/>
      </dsp:txXfrm>
    </dsp:sp>
    <dsp:sp modelId="{1092DDF7-D56C-4C05-A9CA-1F41629D5963}">
      <dsp:nvSpPr>
        <dsp:cNvPr id="0" name=""/>
        <dsp:cNvSpPr/>
      </dsp:nvSpPr>
      <dsp:spPr>
        <a:xfrm>
          <a:off x="2681208"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A968E83-85CC-4BB1-B13F-1CC8C94A33E0}">
      <dsp:nvSpPr>
        <dsp:cNvPr id="0" name=""/>
        <dsp:cNvSpPr/>
      </dsp:nvSpPr>
      <dsp:spPr>
        <a:xfrm>
          <a:off x="2816225" y="705116"/>
          <a:ext cx="1213843" cy="861809"/>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latin typeface="Aptos Display" panose="020F0302020204030204"/>
            </a:rPr>
            <a:t>Governance boards established</a:t>
          </a:r>
        </a:p>
      </dsp:txBody>
      <dsp:txXfrm>
        <a:off x="2858295" y="747186"/>
        <a:ext cx="1129703" cy="777669"/>
      </dsp:txXfrm>
    </dsp:sp>
    <dsp:sp modelId="{3F90257F-0C4B-4945-8BEB-E42CA69ADE4B}">
      <dsp:nvSpPr>
        <dsp:cNvPr id="0" name=""/>
        <dsp:cNvSpPr/>
      </dsp:nvSpPr>
      <dsp:spPr>
        <a:xfrm>
          <a:off x="3423147" y="1566926"/>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93E5B0CA-065B-4608-B089-3E9BEC562690}">
      <dsp:nvSpPr>
        <dsp:cNvPr id="0" name=""/>
        <dsp:cNvSpPr/>
      </dsp:nvSpPr>
      <dsp:spPr>
        <a:xfrm>
          <a:off x="3593085" y="1769109"/>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3</a:t>
          </a:r>
        </a:p>
      </dsp:txBody>
      <dsp:txXfrm>
        <a:off x="3593085" y="1769109"/>
        <a:ext cx="1068182" cy="571169"/>
      </dsp:txXfrm>
    </dsp:sp>
    <dsp:sp modelId="{C62D84A2-5977-402E-9800-FDEA0B1A6ED8}">
      <dsp:nvSpPr>
        <dsp:cNvPr id="0" name=""/>
        <dsp:cNvSpPr/>
      </dsp:nvSpPr>
      <dsp:spPr>
        <a:xfrm>
          <a:off x="3385237"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9EDA36-AD69-41FD-A16A-D0E3037E2ACC}">
      <dsp:nvSpPr>
        <dsp:cNvPr id="0" name=""/>
        <dsp:cNvSpPr/>
      </dsp:nvSpPr>
      <dsp:spPr>
        <a:xfrm>
          <a:off x="3520254" y="3487674"/>
          <a:ext cx="1213843" cy="861809"/>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latin typeface="Aptos Display" panose="020F0302020204030204"/>
            </a:rPr>
            <a:t>Nodes Selected</a:t>
          </a:r>
          <a:endParaRPr lang="en-US" sz="1200" b="1" kern="1200"/>
        </a:p>
      </dsp:txBody>
      <dsp:txXfrm>
        <a:off x="3562324" y="3529744"/>
        <a:ext cx="1129703" cy="777669"/>
      </dsp:txXfrm>
    </dsp:sp>
    <dsp:sp modelId="{0568A5B0-F273-406D-AD0F-2B5A226A07B1}">
      <dsp:nvSpPr>
        <dsp:cNvPr id="0" name=""/>
        <dsp:cNvSpPr/>
      </dsp:nvSpPr>
      <dsp:spPr>
        <a:xfrm>
          <a:off x="4127176" y="2527299"/>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56E63CC0-092F-4C71-9364-34332E029340}">
      <dsp:nvSpPr>
        <dsp:cNvPr id="0" name=""/>
        <dsp:cNvSpPr/>
      </dsp:nvSpPr>
      <dsp:spPr>
        <a:xfrm>
          <a:off x="4297114" y="2714320"/>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3</a:t>
          </a:r>
        </a:p>
      </dsp:txBody>
      <dsp:txXfrm>
        <a:off x="4297114" y="2714320"/>
        <a:ext cx="1068182" cy="571169"/>
      </dsp:txXfrm>
    </dsp:sp>
    <dsp:sp modelId="{382EE250-A5F6-4FDD-B915-5B0AFE9E335A}">
      <dsp:nvSpPr>
        <dsp:cNvPr id="0" name=""/>
        <dsp:cNvSpPr/>
      </dsp:nvSpPr>
      <dsp:spPr>
        <a:xfrm>
          <a:off x="4089266"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4CB2A6-4315-4227-9E7A-B1F26611D30F}">
      <dsp:nvSpPr>
        <dsp:cNvPr id="0" name=""/>
        <dsp:cNvSpPr/>
      </dsp:nvSpPr>
      <dsp:spPr>
        <a:xfrm>
          <a:off x="4224283" y="705116"/>
          <a:ext cx="1213843" cy="861809"/>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latin typeface="Aptos Display" panose="020F0302020204030204"/>
            </a:rPr>
            <a:t>Media campaign underway</a:t>
          </a:r>
        </a:p>
      </dsp:txBody>
      <dsp:txXfrm>
        <a:off x="4266353" y="747186"/>
        <a:ext cx="1129703" cy="777669"/>
      </dsp:txXfrm>
    </dsp:sp>
    <dsp:sp modelId="{32B95D75-C87A-47FE-AFAB-F5BC08131535}">
      <dsp:nvSpPr>
        <dsp:cNvPr id="0" name=""/>
        <dsp:cNvSpPr/>
      </dsp:nvSpPr>
      <dsp:spPr>
        <a:xfrm>
          <a:off x="4831205" y="1566926"/>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21758050-3853-4B51-A8CC-AA46B6F191AF}">
      <dsp:nvSpPr>
        <dsp:cNvPr id="0" name=""/>
        <dsp:cNvSpPr/>
      </dsp:nvSpPr>
      <dsp:spPr>
        <a:xfrm>
          <a:off x="5001143" y="1769109"/>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3</a:t>
          </a:r>
        </a:p>
      </dsp:txBody>
      <dsp:txXfrm>
        <a:off x="5001143" y="1769109"/>
        <a:ext cx="1068182" cy="571169"/>
      </dsp:txXfrm>
    </dsp:sp>
    <dsp:sp modelId="{A0D77DB6-7CA5-421A-BF15-1A416FAC291F}">
      <dsp:nvSpPr>
        <dsp:cNvPr id="0" name=""/>
        <dsp:cNvSpPr/>
      </dsp:nvSpPr>
      <dsp:spPr>
        <a:xfrm>
          <a:off x="4793296"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DA702C-9A43-4D92-BC99-160D8E2E05CA}">
      <dsp:nvSpPr>
        <dsp:cNvPr id="0" name=""/>
        <dsp:cNvSpPr/>
      </dsp:nvSpPr>
      <dsp:spPr>
        <a:xfrm>
          <a:off x="4928313" y="3487674"/>
          <a:ext cx="1213843" cy="996467"/>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latin typeface="Aptos Display" panose="020F0302020204030204"/>
            </a:rPr>
            <a:t>WFD supply &amp; demand studies completed</a:t>
          </a:r>
        </a:p>
      </dsp:txBody>
      <dsp:txXfrm>
        <a:off x="4976957" y="3536318"/>
        <a:ext cx="1116555" cy="899179"/>
      </dsp:txXfrm>
    </dsp:sp>
    <dsp:sp modelId="{3C09B5F8-EF97-41B8-AC43-C61C6FFF41F4}">
      <dsp:nvSpPr>
        <dsp:cNvPr id="0" name=""/>
        <dsp:cNvSpPr/>
      </dsp:nvSpPr>
      <dsp:spPr>
        <a:xfrm>
          <a:off x="5535234" y="2527299"/>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63B8CC74-0B1E-49F4-9390-E1AE2D668100}">
      <dsp:nvSpPr>
        <dsp:cNvPr id="0" name=""/>
        <dsp:cNvSpPr/>
      </dsp:nvSpPr>
      <dsp:spPr>
        <a:xfrm>
          <a:off x="5705172" y="2714320"/>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4</a:t>
          </a:r>
        </a:p>
      </dsp:txBody>
      <dsp:txXfrm>
        <a:off x="5705172" y="2714320"/>
        <a:ext cx="1068182" cy="571169"/>
      </dsp:txXfrm>
    </dsp:sp>
    <dsp:sp modelId="{E9C38DCD-C86D-4EB3-8D17-3156989E171E}">
      <dsp:nvSpPr>
        <dsp:cNvPr id="0" name=""/>
        <dsp:cNvSpPr/>
      </dsp:nvSpPr>
      <dsp:spPr>
        <a:xfrm>
          <a:off x="5497325"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3ABD65-4622-4E44-BD90-900EFFEEF88A}">
      <dsp:nvSpPr>
        <dsp:cNvPr id="0" name=""/>
        <dsp:cNvSpPr/>
      </dsp:nvSpPr>
      <dsp:spPr>
        <a:xfrm>
          <a:off x="5632342" y="381938"/>
          <a:ext cx="1213843" cy="1184987"/>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latin typeface="Aptos Display" panose="020F0302020204030204"/>
            </a:rPr>
            <a:t>Industry awareness campaign fully launched</a:t>
          </a:r>
          <a:endParaRPr lang="en-US" sz="1200" b="1" kern="1200"/>
        </a:p>
      </dsp:txBody>
      <dsp:txXfrm>
        <a:off x="5690188" y="439784"/>
        <a:ext cx="1098151" cy="1069295"/>
      </dsp:txXfrm>
    </dsp:sp>
    <dsp:sp modelId="{A7CD277F-6C66-441B-AA21-4F7D5356B8C9}">
      <dsp:nvSpPr>
        <dsp:cNvPr id="0" name=""/>
        <dsp:cNvSpPr/>
      </dsp:nvSpPr>
      <dsp:spPr>
        <a:xfrm>
          <a:off x="6239263" y="1566926"/>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93353B55-EA56-415C-B1FD-3FDBDF9A1696}">
      <dsp:nvSpPr>
        <dsp:cNvPr id="0" name=""/>
        <dsp:cNvSpPr/>
      </dsp:nvSpPr>
      <dsp:spPr>
        <a:xfrm>
          <a:off x="6409201" y="1769109"/>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4</a:t>
          </a:r>
        </a:p>
      </dsp:txBody>
      <dsp:txXfrm>
        <a:off x="6409201" y="1769109"/>
        <a:ext cx="1068182" cy="571169"/>
      </dsp:txXfrm>
    </dsp:sp>
    <dsp:sp modelId="{A0EECB06-1F0D-4ADD-95AF-C809DF32BEC6}">
      <dsp:nvSpPr>
        <dsp:cNvPr id="0" name=""/>
        <dsp:cNvSpPr/>
      </dsp:nvSpPr>
      <dsp:spPr>
        <a:xfrm>
          <a:off x="6201354"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8C15F4-103E-40ED-813F-B2745FEBA480}">
      <dsp:nvSpPr>
        <dsp:cNvPr id="0" name=""/>
        <dsp:cNvSpPr/>
      </dsp:nvSpPr>
      <dsp:spPr>
        <a:xfrm>
          <a:off x="6336371" y="3487674"/>
          <a:ext cx="1213843" cy="861809"/>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rtl="0">
            <a:lnSpc>
              <a:spcPct val="90000"/>
            </a:lnSpc>
            <a:spcBef>
              <a:spcPct val="0"/>
            </a:spcBef>
            <a:spcAft>
              <a:spcPct val="35000"/>
            </a:spcAft>
            <a:buNone/>
            <a:defRPr b="1"/>
          </a:pPr>
          <a:r>
            <a:rPr lang="en-US" sz="1200" b="1" kern="1200">
              <a:latin typeface="Aptos Display" panose="020F0302020204030204"/>
            </a:rPr>
            <a:t>First nodes operational</a:t>
          </a:r>
        </a:p>
      </dsp:txBody>
      <dsp:txXfrm>
        <a:off x="6378441" y="3529744"/>
        <a:ext cx="1129703" cy="777669"/>
      </dsp:txXfrm>
    </dsp:sp>
    <dsp:sp modelId="{0AE6A372-3F55-433C-868B-90D88B455615}">
      <dsp:nvSpPr>
        <dsp:cNvPr id="0" name=""/>
        <dsp:cNvSpPr/>
      </dsp:nvSpPr>
      <dsp:spPr>
        <a:xfrm>
          <a:off x="6943292" y="2527299"/>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1E0105D9-BFA2-4FBC-B676-3A5B532286CA}">
      <dsp:nvSpPr>
        <dsp:cNvPr id="0" name=""/>
        <dsp:cNvSpPr/>
      </dsp:nvSpPr>
      <dsp:spPr>
        <a:xfrm>
          <a:off x="7113230" y="2714320"/>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4</a:t>
          </a:r>
          <a:endParaRPr lang="en-US" sz="1400" b="1" kern="1200"/>
        </a:p>
      </dsp:txBody>
      <dsp:txXfrm>
        <a:off x="7113230" y="2714320"/>
        <a:ext cx="1068182" cy="571169"/>
      </dsp:txXfrm>
    </dsp:sp>
    <dsp:sp modelId="{9A4342C5-0D05-431D-9622-972BDD41A2B7}">
      <dsp:nvSpPr>
        <dsp:cNvPr id="0" name=""/>
        <dsp:cNvSpPr/>
      </dsp:nvSpPr>
      <dsp:spPr>
        <a:xfrm>
          <a:off x="6905383"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63734E-B461-42CD-89EA-6193551377B9}">
      <dsp:nvSpPr>
        <dsp:cNvPr id="0" name=""/>
        <dsp:cNvSpPr/>
      </dsp:nvSpPr>
      <dsp:spPr>
        <a:xfrm>
          <a:off x="7040400" y="705116"/>
          <a:ext cx="1213843" cy="861809"/>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latin typeface="Aptos Display" panose="020F0302020204030204"/>
            </a:rPr>
            <a:t>Online Job Tool launched</a:t>
          </a:r>
        </a:p>
      </dsp:txBody>
      <dsp:txXfrm>
        <a:off x="7082470" y="747186"/>
        <a:ext cx="1129703" cy="777669"/>
      </dsp:txXfrm>
    </dsp:sp>
    <dsp:sp modelId="{F2BA1CF7-01E0-4E18-89C6-9B0F449AC81E}">
      <dsp:nvSpPr>
        <dsp:cNvPr id="0" name=""/>
        <dsp:cNvSpPr/>
      </dsp:nvSpPr>
      <dsp:spPr>
        <a:xfrm>
          <a:off x="7647321" y="1566926"/>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1C07980A-01AD-4375-B30D-3B9566D433DF}">
      <dsp:nvSpPr>
        <dsp:cNvPr id="0" name=""/>
        <dsp:cNvSpPr/>
      </dsp:nvSpPr>
      <dsp:spPr>
        <a:xfrm>
          <a:off x="7817259" y="1769109"/>
          <a:ext cx="1068182" cy="571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b="1" kern="1200">
              <a:latin typeface="Aptos Display" panose="020F0302020204030204"/>
            </a:rPr>
            <a:t>Q4 </a:t>
          </a:r>
        </a:p>
      </dsp:txBody>
      <dsp:txXfrm>
        <a:off x="7817259" y="1769109"/>
        <a:ext cx="1068182" cy="571169"/>
      </dsp:txXfrm>
    </dsp:sp>
    <dsp:sp modelId="{99B99E64-2887-46D1-BD1C-3C2F3078BDB7}">
      <dsp:nvSpPr>
        <dsp:cNvPr id="0" name=""/>
        <dsp:cNvSpPr/>
      </dsp:nvSpPr>
      <dsp:spPr>
        <a:xfrm>
          <a:off x="7609412"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434443-72B6-4206-886D-95F8399164A7}">
      <dsp:nvSpPr>
        <dsp:cNvPr id="0" name=""/>
        <dsp:cNvSpPr/>
      </dsp:nvSpPr>
      <dsp:spPr>
        <a:xfrm>
          <a:off x="7744429" y="3487674"/>
          <a:ext cx="1213843" cy="861809"/>
        </a:xfrm>
        <a:prstGeom prst="round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latin typeface="Aptos Display" panose="020F0302020204030204"/>
            </a:rPr>
            <a:t>Initial assessments underway</a:t>
          </a:r>
        </a:p>
      </dsp:txBody>
      <dsp:txXfrm>
        <a:off x="7786499" y="3529744"/>
        <a:ext cx="1129703" cy="777669"/>
      </dsp:txXfrm>
    </dsp:sp>
    <dsp:sp modelId="{74E4F1A9-3E3C-456E-BBF8-179FFF93E992}">
      <dsp:nvSpPr>
        <dsp:cNvPr id="0" name=""/>
        <dsp:cNvSpPr/>
      </dsp:nvSpPr>
      <dsp:spPr>
        <a:xfrm>
          <a:off x="8351351" y="2527299"/>
          <a:ext cx="0" cy="96037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5B549C08-ECB7-4CFC-A74B-E00465610BF3}">
      <dsp:nvSpPr>
        <dsp:cNvPr id="0" name=""/>
        <dsp:cNvSpPr/>
      </dsp:nvSpPr>
      <dsp:spPr>
        <a:xfrm>
          <a:off x="8313441" y="2489390"/>
          <a:ext cx="75819" cy="75819"/>
        </a:xfrm>
        <a:prstGeom prst="ellips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C84F0C-F1D2-42F3-9B97-BA024863C3BC}">
      <dsp:nvSpPr>
        <dsp:cNvPr id="0" name=""/>
        <dsp:cNvSpPr/>
      </dsp:nvSpPr>
      <dsp:spPr>
        <a:xfrm>
          <a:off x="1061437" y="854976"/>
          <a:ext cx="1141382" cy="114138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9D0C398-2A26-4542-8D85-FEC937274081}">
      <dsp:nvSpPr>
        <dsp:cNvPr id="0" name=""/>
        <dsp:cNvSpPr/>
      </dsp:nvSpPr>
      <dsp:spPr>
        <a:xfrm>
          <a:off x="1582" y="2103121"/>
          <a:ext cx="3261093" cy="489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defRPr b="1"/>
          </a:pPr>
          <a:r>
            <a:rPr lang="en-US" sz="1700" kern="1200"/>
            <a:t>Career Technical Planning Districts</a:t>
          </a:r>
        </a:p>
      </dsp:txBody>
      <dsp:txXfrm>
        <a:off x="1582" y="2103121"/>
        <a:ext cx="3261093" cy="489164"/>
      </dsp:txXfrm>
    </dsp:sp>
    <dsp:sp modelId="{2472E95F-2DDA-49E5-9F72-C6C64C51A8DF}">
      <dsp:nvSpPr>
        <dsp:cNvPr id="0" name=""/>
        <dsp:cNvSpPr/>
      </dsp:nvSpPr>
      <dsp:spPr>
        <a:xfrm>
          <a:off x="1582" y="2641942"/>
          <a:ext cx="3261093" cy="695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pPr>
          <a:r>
            <a:rPr lang="en-US" sz="1300" kern="1200"/>
            <a:t>Geographically arranged across the state</a:t>
          </a:r>
        </a:p>
      </dsp:txBody>
      <dsp:txXfrm>
        <a:off x="1582" y="2641942"/>
        <a:ext cx="3261093" cy="695885"/>
      </dsp:txXfrm>
    </dsp:sp>
    <dsp:sp modelId="{40A79833-C9D3-45BB-8817-FDD6F54F2C6F}">
      <dsp:nvSpPr>
        <dsp:cNvPr id="0" name=""/>
        <dsp:cNvSpPr/>
      </dsp:nvSpPr>
      <dsp:spPr>
        <a:xfrm>
          <a:off x="4893223" y="854976"/>
          <a:ext cx="1141382" cy="114138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938A52C-88DC-4F10-96EA-7DCCD43A08BB}">
      <dsp:nvSpPr>
        <dsp:cNvPr id="0" name=""/>
        <dsp:cNvSpPr/>
      </dsp:nvSpPr>
      <dsp:spPr>
        <a:xfrm>
          <a:off x="3833367" y="2103121"/>
          <a:ext cx="3261093" cy="489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defRPr b="1"/>
          </a:pPr>
          <a:r>
            <a:rPr lang="en-US" sz="1700" kern="1200"/>
            <a:t>Three Delivery Models</a:t>
          </a:r>
        </a:p>
      </dsp:txBody>
      <dsp:txXfrm>
        <a:off x="3833367" y="2103121"/>
        <a:ext cx="3261093" cy="489164"/>
      </dsp:txXfrm>
    </dsp:sp>
    <dsp:sp modelId="{9604F094-8865-424E-8AEC-9215D9D4828D}">
      <dsp:nvSpPr>
        <dsp:cNvPr id="0" name=""/>
        <dsp:cNvSpPr/>
      </dsp:nvSpPr>
      <dsp:spPr>
        <a:xfrm>
          <a:off x="3833367" y="2641942"/>
          <a:ext cx="3261093" cy="695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pPr>
          <a:r>
            <a:rPr lang="en-US" sz="1300" kern="1200"/>
            <a:t>Joint Vocational School Districts (JVSD)</a:t>
          </a:r>
        </a:p>
        <a:p>
          <a:pPr marL="0" lvl="0" indent="0" algn="ctr" defTabSz="577850">
            <a:lnSpc>
              <a:spcPct val="90000"/>
            </a:lnSpc>
            <a:spcBef>
              <a:spcPct val="0"/>
            </a:spcBef>
            <a:spcAft>
              <a:spcPct val="35000"/>
            </a:spcAft>
            <a:buNone/>
          </a:pPr>
          <a:r>
            <a:rPr lang="en-US" sz="1300" kern="1200"/>
            <a:t>Compacts</a:t>
          </a:r>
        </a:p>
        <a:p>
          <a:pPr marL="0" lvl="0" indent="0" algn="ctr" defTabSz="577850">
            <a:lnSpc>
              <a:spcPct val="90000"/>
            </a:lnSpc>
            <a:spcBef>
              <a:spcPct val="0"/>
            </a:spcBef>
            <a:spcAft>
              <a:spcPct val="35000"/>
            </a:spcAft>
            <a:buNone/>
          </a:pPr>
          <a:r>
            <a:rPr lang="en-US" sz="1300" kern="1200"/>
            <a:t>Comprehensives</a:t>
          </a:r>
        </a:p>
      </dsp:txBody>
      <dsp:txXfrm>
        <a:off x="3833367" y="2641942"/>
        <a:ext cx="3261093" cy="695885"/>
      </dsp:txXfrm>
    </dsp:sp>
    <dsp:sp modelId="{90EB72A0-EEEB-489A-9966-401A3C5DC830}">
      <dsp:nvSpPr>
        <dsp:cNvPr id="0" name=""/>
        <dsp:cNvSpPr/>
      </dsp:nvSpPr>
      <dsp:spPr>
        <a:xfrm>
          <a:off x="8725008" y="854976"/>
          <a:ext cx="1141382" cy="114138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E3FBFBA-33B6-4620-8EF2-EBB17D02AAF7}">
      <dsp:nvSpPr>
        <dsp:cNvPr id="0" name=""/>
        <dsp:cNvSpPr/>
      </dsp:nvSpPr>
      <dsp:spPr>
        <a:xfrm>
          <a:off x="7665152" y="2103121"/>
          <a:ext cx="3261093" cy="489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defRPr b="1"/>
          </a:pPr>
          <a:r>
            <a:rPr lang="en-US" sz="1700" kern="1200"/>
            <a:t>Ohio Technical Centers</a:t>
          </a:r>
        </a:p>
      </dsp:txBody>
      <dsp:txXfrm>
        <a:off x="7665152" y="2103121"/>
        <a:ext cx="3261093" cy="489164"/>
      </dsp:txXfrm>
    </dsp:sp>
    <dsp:sp modelId="{079B8287-AB5D-4B93-97AB-0DECB445397E}">
      <dsp:nvSpPr>
        <dsp:cNvPr id="0" name=""/>
        <dsp:cNvSpPr/>
      </dsp:nvSpPr>
      <dsp:spPr>
        <a:xfrm>
          <a:off x="7665152" y="2641942"/>
          <a:ext cx="3261093" cy="695885"/>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E15081-943A-4B16-BF1F-C33BE2665F9E}">
      <dsp:nvSpPr>
        <dsp:cNvPr id="0" name=""/>
        <dsp:cNvSpPr/>
      </dsp:nvSpPr>
      <dsp:spPr>
        <a:xfrm>
          <a:off x="0" y="63736"/>
          <a:ext cx="6245265" cy="99450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Mix of delivery models</a:t>
          </a:r>
          <a:r>
            <a:rPr lang="en-US" sz="2500" kern="1200" dirty="0">
              <a:latin typeface="Aptos Display" panose="020F0302020204030204"/>
            </a:rPr>
            <a:t>/locations</a:t>
          </a:r>
          <a:r>
            <a:rPr lang="en-US" sz="2500" kern="1200" dirty="0"/>
            <a:t> within the models</a:t>
          </a:r>
        </a:p>
      </dsp:txBody>
      <dsp:txXfrm>
        <a:off x="48547" y="112283"/>
        <a:ext cx="6148171" cy="897406"/>
      </dsp:txXfrm>
    </dsp:sp>
    <dsp:sp modelId="{FF0E5A0C-C5A3-42F3-95D7-6AB1301F9B4D}">
      <dsp:nvSpPr>
        <dsp:cNvPr id="0" name=""/>
        <dsp:cNvSpPr/>
      </dsp:nvSpPr>
      <dsp:spPr>
        <a:xfrm>
          <a:off x="0" y="1058236"/>
          <a:ext cx="6245265" cy="1371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8287"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Main Campus</a:t>
          </a:r>
        </a:p>
        <a:p>
          <a:pPr marL="228600" lvl="1" indent="-228600" algn="l" defTabSz="889000">
            <a:lnSpc>
              <a:spcPct val="90000"/>
            </a:lnSpc>
            <a:spcBef>
              <a:spcPct val="0"/>
            </a:spcBef>
            <a:spcAft>
              <a:spcPct val="20000"/>
            </a:spcAft>
            <a:buChar char="•"/>
          </a:pPr>
          <a:r>
            <a:rPr lang="en-US" sz="2000" kern="1200" dirty="0"/>
            <a:t>Auxiliary Campuses</a:t>
          </a:r>
        </a:p>
        <a:p>
          <a:pPr marL="228600" lvl="1" indent="-228600" algn="l" defTabSz="889000">
            <a:lnSpc>
              <a:spcPct val="90000"/>
            </a:lnSpc>
            <a:spcBef>
              <a:spcPct val="0"/>
            </a:spcBef>
            <a:spcAft>
              <a:spcPct val="20000"/>
            </a:spcAft>
            <a:buChar char="•"/>
          </a:pPr>
          <a:r>
            <a:rPr lang="en-US" sz="2000" kern="1200" dirty="0"/>
            <a:t>Shared Campus</a:t>
          </a:r>
        </a:p>
        <a:p>
          <a:pPr marL="228600" lvl="1" indent="-228600" algn="l" defTabSz="889000">
            <a:lnSpc>
              <a:spcPct val="90000"/>
            </a:lnSpc>
            <a:spcBef>
              <a:spcPct val="0"/>
            </a:spcBef>
            <a:spcAft>
              <a:spcPct val="20000"/>
            </a:spcAft>
            <a:buChar char="•"/>
          </a:pPr>
          <a:r>
            <a:rPr lang="en-US" sz="2000" kern="1200" dirty="0"/>
            <a:t>Satellite Location</a:t>
          </a:r>
        </a:p>
      </dsp:txBody>
      <dsp:txXfrm>
        <a:off x="0" y="1058236"/>
        <a:ext cx="6245265" cy="1371375"/>
      </dsp:txXfrm>
    </dsp:sp>
    <dsp:sp modelId="{E88F7FEF-26D3-49B8-B513-C88E588A33E9}">
      <dsp:nvSpPr>
        <dsp:cNvPr id="0" name=""/>
        <dsp:cNvSpPr/>
      </dsp:nvSpPr>
      <dsp:spPr>
        <a:xfrm>
          <a:off x="0" y="2429611"/>
          <a:ext cx="6245265" cy="994500"/>
        </a:xfrm>
        <a:prstGeom prst="roundRect">
          <a:avLst/>
        </a:prstGeom>
        <a:solidFill>
          <a:schemeClr val="accent2">
            <a:hueOff val="3221807"/>
            <a:satOff val="-9246"/>
            <a:lumOff val="-1480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Providers – K12 vs. CTPD</a:t>
          </a:r>
        </a:p>
      </dsp:txBody>
      <dsp:txXfrm>
        <a:off x="48547" y="2478158"/>
        <a:ext cx="6148171" cy="897406"/>
      </dsp:txXfrm>
    </dsp:sp>
    <dsp:sp modelId="{34744807-1BE0-441D-A45E-015DEC6A02ED}">
      <dsp:nvSpPr>
        <dsp:cNvPr id="0" name=""/>
        <dsp:cNvSpPr/>
      </dsp:nvSpPr>
      <dsp:spPr>
        <a:xfrm>
          <a:off x="0" y="3496111"/>
          <a:ext cx="6245265" cy="994500"/>
        </a:xfrm>
        <a:prstGeom prst="roundRect">
          <a:avLst/>
        </a:prstGeom>
        <a:solidFill>
          <a:schemeClr val="accent2">
            <a:hueOff val="6443614"/>
            <a:satOff val="-18493"/>
            <a:lumOff val="-2960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Alignment with external partners</a:t>
          </a:r>
        </a:p>
      </dsp:txBody>
      <dsp:txXfrm>
        <a:off x="48547" y="3544658"/>
        <a:ext cx="6148171" cy="897406"/>
      </dsp:txXfrm>
    </dsp:sp>
    <dsp:sp modelId="{281FFBAE-226F-4A56-BD08-AA5F6E946E88}">
      <dsp:nvSpPr>
        <dsp:cNvPr id="0" name=""/>
        <dsp:cNvSpPr/>
      </dsp:nvSpPr>
      <dsp:spPr>
        <a:xfrm>
          <a:off x="0" y="4490611"/>
          <a:ext cx="6245265" cy="103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8287"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Post-Secondary Partners</a:t>
          </a:r>
        </a:p>
        <a:p>
          <a:pPr marL="228600" lvl="1" indent="-228600" algn="l" defTabSz="889000">
            <a:lnSpc>
              <a:spcPct val="90000"/>
            </a:lnSpc>
            <a:spcBef>
              <a:spcPct val="0"/>
            </a:spcBef>
            <a:spcAft>
              <a:spcPct val="20000"/>
            </a:spcAft>
            <a:buChar char="•"/>
          </a:pPr>
          <a:r>
            <a:rPr lang="en-US" sz="2000" kern="1200" dirty="0"/>
            <a:t>Apprenticeships</a:t>
          </a:r>
        </a:p>
        <a:p>
          <a:pPr marL="228600" lvl="1" indent="-228600" algn="l" defTabSz="889000">
            <a:lnSpc>
              <a:spcPct val="90000"/>
            </a:lnSpc>
            <a:spcBef>
              <a:spcPct val="0"/>
            </a:spcBef>
            <a:spcAft>
              <a:spcPct val="20000"/>
            </a:spcAft>
            <a:buChar char="•"/>
          </a:pPr>
          <a:r>
            <a:rPr lang="en-US" sz="2000" kern="1200" dirty="0"/>
            <a:t>Advisory Committees</a:t>
          </a:r>
        </a:p>
      </dsp:txBody>
      <dsp:txXfrm>
        <a:off x="0" y="4490611"/>
        <a:ext cx="6245265" cy="1035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6829B1-D24C-4093-813B-D4C003B68BBA}">
      <dsp:nvSpPr>
        <dsp:cNvPr id="0" name=""/>
        <dsp:cNvSpPr/>
      </dsp:nvSpPr>
      <dsp:spPr>
        <a:xfrm>
          <a:off x="2329474" y="1084105"/>
          <a:ext cx="505093" cy="91440"/>
        </a:xfrm>
        <a:custGeom>
          <a:avLst/>
          <a:gdLst/>
          <a:ahLst/>
          <a:cxnLst/>
          <a:rect l="0" t="0" r="0" b="0"/>
          <a:pathLst>
            <a:path>
              <a:moveTo>
                <a:pt x="0" y="45720"/>
              </a:moveTo>
              <a:lnTo>
                <a:pt x="505093" y="45720"/>
              </a:lnTo>
            </a:path>
          </a:pathLst>
        </a:custGeom>
        <a:noFill/>
        <a:ln w="1270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568628" y="1127147"/>
        <a:ext cx="26784" cy="5356"/>
      </dsp:txXfrm>
    </dsp:sp>
    <dsp:sp modelId="{E7716A78-E9BD-44A6-9A33-82CF47525A41}">
      <dsp:nvSpPr>
        <dsp:cNvPr id="0" name=""/>
        <dsp:cNvSpPr/>
      </dsp:nvSpPr>
      <dsp:spPr>
        <a:xfrm>
          <a:off x="2174" y="431095"/>
          <a:ext cx="2329100" cy="1397460"/>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128" tIns="119797" rIns="114128" bIns="119797" numCol="1" spcCol="1270" anchor="ctr" anchorCtr="0">
          <a:noAutofit/>
        </a:bodyPr>
        <a:lstStyle/>
        <a:p>
          <a:pPr marL="0" lvl="0" indent="0" algn="ctr" defTabSz="933450">
            <a:lnSpc>
              <a:spcPct val="90000"/>
            </a:lnSpc>
            <a:spcBef>
              <a:spcPct val="0"/>
            </a:spcBef>
            <a:spcAft>
              <a:spcPct val="35000"/>
            </a:spcAft>
            <a:buNone/>
          </a:pPr>
          <a:r>
            <a:rPr lang="en-US" sz="2100" kern="1200" dirty="0"/>
            <a:t>Career Exploration</a:t>
          </a:r>
        </a:p>
      </dsp:txBody>
      <dsp:txXfrm>
        <a:off x="2174" y="431095"/>
        <a:ext cx="2329100" cy="1397460"/>
      </dsp:txXfrm>
    </dsp:sp>
    <dsp:sp modelId="{71A4F39F-1D72-4D3F-828D-E106BF1E7588}">
      <dsp:nvSpPr>
        <dsp:cNvPr id="0" name=""/>
        <dsp:cNvSpPr/>
      </dsp:nvSpPr>
      <dsp:spPr>
        <a:xfrm>
          <a:off x="5194267" y="1084105"/>
          <a:ext cx="505093" cy="91440"/>
        </a:xfrm>
        <a:custGeom>
          <a:avLst/>
          <a:gdLst/>
          <a:ahLst/>
          <a:cxnLst/>
          <a:rect l="0" t="0" r="0" b="0"/>
          <a:pathLst>
            <a:path>
              <a:moveTo>
                <a:pt x="0" y="45720"/>
              </a:moveTo>
              <a:lnTo>
                <a:pt x="505093" y="45720"/>
              </a:lnTo>
            </a:path>
          </a:pathLst>
        </a:custGeom>
        <a:noFill/>
        <a:ln w="1270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33422" y="1127147"/>
        <a:ext cx="26784" cy="5356"/>
      </dsp:txXfrm>
    </dsp:sp>
    <dsp:sp modelId="{24FCDCD6-FEA1-4A86-810B-0B67034F949F}">
      <dsp:nvSpPr>
        <dsp:cNvPr id="0" name=""/>
        <dsp:cNvSpPr/>
      </dsp:nvSpPr>
      <dsp:spPr>
        <a:xfrm>
          <a:off x="2866967" y="431095"/>
          <a:ext cx="2329100" cy="1397460"/>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128" tIns="119797" rIns="114128" bIns="119797" numCol="1" spcCol="1270" anchor="ctr" anchorCtr="0">
          <a:noAutofit/>
        </a:bodyPr>
        <a:lstStyle/>
        <a:p>
          <a:pPr marL="0" lvl="0" indent="0" algn="ctr" defTabSz="933450">
            <a:lnSpc>
              <a:spcPct val="90000"/>
            </a:lnSpc>
            <a:spcBef>
              <a:spcPct val="0"/>
            </a:spcBef>
            <a:spcAft>
              <a:spcPct val="35000"/>
            </a:spcAft>
            <a:buNone/>
          </a:pPr>
          <a:r>
            <a:rPr lang="en-US" sz="2100" kern="1200" dirty="0"/>
            <a:t>Middle School Programming</a:t>
          </a:r>
        </a:p>
      </dsp:txBody>
      <dsp:txXfrm>
        <a:off x="2866967" y="431095"/>
        <a:ext cx="2329100" cy="1397460"/>
      </dsp:txXfrm>
    </dsp:sp>
    <dsp:sp modelId="{87F326D6-C75B-4011-8E63-BA2A036CC968}">
      <dsp:nvSpPr>
        <dsp:cNvPr id="0" name=""/>
        <dsp:cNvSpPr/>
      </dsp:nvSpPr>
      <dsp:spPr>
        <a:xfrm>
          <a:off x="8059061" y="1084105"/>
          <a:ext cx="505093" cy="91440"/>
        </a:xfrm>
        <a:custGeom>
          <a:avLst/>
          <a:gdLst/>
          <a:ahLst/>
          <a:cxnLst/>
          <a:rect l="0" t="0" r="0" b="0"/>
          <a:pathLst>
            <a:path>
              <a:moveTo>
                <a:pt x="0" y="45720"/>
              </a:moveTo>
              <a:lnTo>
                <a:pt x="505093" y="45720"/>
              </a:lnTo>
            </a:path>
          </a:pathLst>
        </a:custGeom>
        <a:noFill/>
        <a:ln w="12700" cap="flat" cmpd="sng" algn="ctr">
          <a:solidFill>
            <a:schemeClr val="accent4">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298215" y="1127147"/>
        <a:ext cx="26784" cy="5356"/>
      </dsp:txXfrm>
    </dsp:sp>
    <dsp:sp modelId="{F187B572-6CE6-4B82-A0B7-77BCF4700580}">
      <dsp:nvSpPr>
        <dsp:cNvPr id="0" name=""/>
        <dsp:cNvSpPr/>
      </dsp:nvSpPr>
      <dsp:spPr>
        <a:xfrm>
          <a:off x="5731761" y="431095"/>
          <a:ext cx="2329100" cy="1397460"/>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128" tIns="119797" rIns="114128" bIns="119797" numCol="1" spcCol="1270" anchor="ctr" anchorCtr="0">
          <a:noAutofit/>
        </a:bodyPr>
        <a:lstStyle/>
        <a:p>
          <a:pPr marL="0" lvl="0" indent="0" algn="ctr" defTabSz="933450">
            <a:lnSpc>
              <a:spcPct val="90000"/>
            </a:lnSpc>
            <a:spcBef>
              <a:spcPct val="0"/>
            </a:spcBef>
            <a:spcAft>
              <a:spcPct val="35000"/>
            </a:spcAft>
            <a:buNone/>
          </a:pPr>
          <a:r>
            <a:rPr lang="en-US" sz="2100" kern="1200" dirty="0"/>
            <a:t>Satellite Programming</a:t>
          </a:r>
        </a:p>
      </dsp:txBody>
      <dsp:txXfrm>
        <a:off x="5731761" y="431095"/>
        <a:ext cx="2329100" cy="1397460"/>
      </dsp:txXfrm>
    </dsp:sp>
    <dsp:sp modelId="{198A31ED-3662-4E45-9ECC-8D6A671E786F}">
      <dsp:nvSpPr>
        <dsp:cNvPr id="0" name=""/>
        <dsp:cNvSpPr/>
      </dsp:nvSpPr>
      <dsp:spPr>
        <a:xfrm>
          <a:off x="1166724" y="1826755"/>
          <a:ext cx="8594380" cy="505093"/>
        </a:xfrm>
        <a:custGeom>
          <a:avLst/>
          <a:gdLst/>
          <a:ahLst/>
          <a:cxnLst/>
          <a:rect l="0" t="0" r="0" b="0"/>
          <a:pathLst>
            <a:path>
              <a:moveTo>
                <a:pt x="8594380" y="0"/>
              </a:moveTo>
              <a:lnTo>
                <a:pt x="8594380" y="269646"/>
              </a:lnTo>
              <a:lnTo>
                <a:pt x="0" y="269646"/>
              </a:lnTo>
              <a:lnTo>
                <a:pt x="0" y="505093"/>
              </a:lnTo>
            </a:path>
          </a:pathLst>
        </a:custGeom>
        <a:noFill/>
        <a:ln w="1270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248638" y="2076624"/>
        <a:ext cx="430552" cy="5356"/>
      </dsp:txXfrm>
    </dsp:sp>
    <dsp:sp modelId="{D3AFD476-E3FE-48C9-A4A2-8E9ACC4BAA6A}">
      <dsp:nvSpPr>
        <dsp:cNvPr id="0" name=""/>
        <dsp:cNvSpPr/>
      </dsp:nvSpPr>
      <dsp:spPr>
        <a:xfrm>
          <a:off x="8596554" y="431095"/>
          <a:ext cx="2329100" cy="1397460"/>
        </a:xfrm>
        <a:prstGeom prst="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128" tIns="119797" rIns="114128" bIns="119797" numCol="1" spcCol="1270" anchor="t" anchorCtr="0">
          <a:noAutofit/>
        </a:bodyPr>
        <a:lstStyle/>
        <a:p>
          <a:pPr marL="0" lvl="0" indent="0" algn="l" defTabSz="933450">
            <a:lnSpc>
              <a:spcPct val="90000"/>
            </a:lnSpc>
            <a:spcBef>
              <a:spcPct val="0"/>
            </a:spcBef>
            <a:spcAft>
              <a:spcPct val="35000"/>
            </a:spcAft>
            <a:buNone/>
          </a:pPr>
          <a:r>
            <a:rPr lang="en-US" sz="2100" kern="1200" dirty="0"/>
            <a:t>Main Campus Programming</a:t>
          </a:r>
        </a:p>
        <a:p>
          <a:pPr marL="171450" lvl="1" indent="-171450" algn="l" defTabSz="711200">
            <a:lnSpc>
              <a:spcPct val="90000"/>
            </a:lnSpc>
            <a:spcBef>
              <a:spcPct val="0"/>
            </a:spcBef>
            <a:spcAft>
              <a:spcPct val="15000"/>
            </a:spcAft>
            <a:buChar char="•"/>
          </a:pPr>
          <a:r>
            <a:rPr lang="en-US" sz="1600" kern="1200" dirty="0"/>
            <a:t>Career Training</a:t>
          </a:r>
        </a:p>
      </dsp:txBody>
      <dsp:txXfrm>
        <a:off x="8596554" y="431095"/>
        <a:ext cx="2329100" cy="1397460"/>
      </dsp:txXfrm>
    </dsp:sp>
    <dsp:sp modelId="{D3201D7D-1D46-4682-BE46-6E0F7343EDDD}">
      <dsp:nvSpPr>
        <dsp:cNvPr id="0" name=""/>
        <dsp:cNvSpPr/>
      </dsp:nvSpPr>
      <dsp:spPr>
        <a:xfrm>
          <a:off x="2329474" y="3017259"/>
          <a:ext cx="505093" cy="91440"/>
        </a:xfrm>
        <a:custGeom>
          <a:avLst/>
          <a:gdLst/>
          <a:ahLst/>
          <a:cxnLst/>
          <a:rect l="0" t="0" r="0" b="0"/>
          <a:pathLst>
            <a:path>
              <a:moveTo>
                <a:pt x="0" y="45720"/>
              </a:moveTo>
              <a:lnTo>
                <a:pt x="505093" y="45720"/>
              </a:lnTo>
            </a:path>
          </a:pathLst>
        </a:custGeom>
        <a:noFill/>
        <a:ln w="12700" cap="flat" cmpd="sng" algn="ctr">
          <a:solidFill>
            <a:schemeClr val="accent6">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568628" y="3060300"/>
        <a:ext cx="26784" cy="5356"/>
      </dsp:txXfrm>
    </dsp:sp>
    <dsp:sp modelId="{C5C451A5-65C3-44F8-BD2C-4F5095073DDC}">
      <dsp:nvSpPr>
        <dsp:cNvPr id="0" name=""/>
        <dsp:cNvSpPr/>
      </dsp:nvSpPr>
      <dsp:spPr>
        <a:xfrm>
          <a:off x="2174" y="2364249"/>
          <a:ext cx="2329100" cy="1397460"/>
        </a:xfrm>
        <a:prstGeom prst="rect">
          <a:avLst/>
        </a:prstGeom>
        <a:solidFill>
          <a:schemeClr val="accent6">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128" tIns="119797" rIns="114128" bIns="119797" numCol="1" spcCol="1270" anchor="t" anchorCtr="0">
          <a:noAutofit/>
        </a:bodyPr>
        <a:lstStyle/>
        <a:p>
          <a:pPr marL="0" lvl="0" indent="0" algn="l" defTabSz="933450">
            <a:lnSpc>
              <a:spcPct val="90000"/>
            </a:lnSpc>
            <a:spcBef>
              <a:spcPct val="0"/>
            </a:spcBef>
            <a:spcAft>
              <a:spcPct val="35000"/>
            </a:spcAft>
            <a:buNone/>
          </a:pPr>
          <a:r>
            <a:rPr lang="en-US" sz="2100" kern="1200" dirty="0"/>
            <a:t>Senior Only Programming</a:t>
          </a:r>
        </a:p>
        <a:p>
          <a:pPr marL="171450" lvl="1" indent="-171450" algn="l" defTabSz="711200">
            <a:lnSpc>
              <a:spcPct val="90000"/>
            </a:lnSpc>
            <a:spcBef>
              <a:spcPct val="0"/>
            </a:spcBef>
            <a:spcAft>
              <a:spcPct val="15000"/>
            </a:spcAft>
            <a:buChar char="•"/>
          </a:pPr>
          <a:r>
            <a:rPr lang="en-US" sz="1600" kern="1200" dirty="0"/>
            <a:t>Industry Recognized Credentials</a:t>
          </a:r>
        </a:p>
      </dsp:txBody>
      <dsp:txXfrm>
        <a:off x="2174" y="2364249"/>
        <a:ext cx="2329100" cy="1397460"/>
      </dsp:txXfrm>
    </dsp:sp>
    <dsp:sp modelId="{5C6BDD36-1759-4A0B-89D4-651AFF289C90}">
      <dsp:nvSpPr>
        <dsp:cNvPr id="0" name=""/>
        <dsp:cNvSpPr/>
      </dsp:nvSpPr>
      <dsp:spPr>
        <a:xfrm>
          <a:off x="5194267" y="3017259"/>
          <a:ext cx="505093" cy="91440"/>
        </a:xfrm>
        <a:custGeom>
          <a:avLst/>
          <a:gdLst/>
          <a:ahLst/>
          <a:cxnLst/>
          <a:rect l="0" t="0" r="0" b="0"/>
          <a:pathLst>
            <a:path>
              <a:moveTo>
                <a:pt x="0" y="45720"/>
              </a:moveTo>
              <a:lnTo>
                <a:pt x="505093" y="45720"/>
              </a:lnTo>
            </a:path>
          </a:pathLst>
        </a:custGeom>
        <a:noFill/>
        <a:ln w="1270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33422" y="3060300"/>
        <a:ext cx="26784" cy="5356"/>
      </dsp:txXfrm>
    </dsp:sp>
    <dsp:sp modelId="{70DD7747-DE61-4FE7-8F8D-B847E38B93BE}">
      <dsp:nvSpPr>
        <dsp:cNvPr id="0" name=""/>
        <dsp:cNvSpPr/>
      </dsp:nvSpPr>
      <dsp:spPr>
        <a:xfrm>
          <a:off x="2866967" y="2364249"/>
          <a:ext cx="2329100" cy="1397460"/>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128" tIns="119797" rIns="114128" bIns="119797" numCol="1" spcCol="1270" anchor="ctr" anchorCtr="0">
          <a:noAutofit/>
        </a:bodyPr>
        <a:lstStyle/>
        <a:p>
          <a:pPr marL="0" lvl="0" indent="0" algn="ctr" defTabSz="933450">
            <a:lnSpc>
              <a:spcPct val="90000"/>
            </a:lnSpc>
            <a:spcBef>
              <a:spcPct val="0"/>
            </a:spcBef>
            <a:spcAft>
              <a:spcPct val="35000"/>
            </a:spcAft>
            <a:buNone/>
          </a:pPr>
          <a:r>
            <a:rPr lang="en-US" sz="2100" kern="1200" dirty="0"/>
            <a:t>Job Training Coordination</a:t>
          </a:r>
        </a:p>
      </dsp:txBody>
      <dsp:txXfrm>
        <a:off x="2866967" y="2364249"/>
        <a:ext cx="2329100" cy="1397460"/>
      </dsp:txXfrm>
    </dsp:sp>
    <dsp:sp modelId="{9EA05A57-2DC8-45C3-B732-B34D8706047B}">
      <dsp:nvSpPr>
        <dsp:cNvPr id="0" name=""/>
        <dsp:cNvSpPr/>
      </dsp:nvSpPr>
      <dsp:spPr>
        <a:xfrm>
          <a:off x="8059061" y="3017259"/>
          <a:ext cx="505093" cy="91440"/>
        </a:xfrm>
        <a:custGeom>
          <a:avLst/>
          <a:gdLst/>
          <a:ahLst/>
          <a:cxnLst/>
          <a:rect l="0" t="0" r="0" b="0"/>
          <a:pathLst>
            <a:path>
              <a:moveTo>
                <a:pt x="0" y="45720"/>
              </a:moveTo>
              <a:lnTo>
                <a:pt x="505093" y="45720"/>
              </a:lnTo>
            </a:path>
          </a:pathLst>
        </a:custGeom>
        <a:noFill/>
        <a:ln w="1270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298215" y="3060300"/>
        <a:ext cx="26784" cy="5356"/>
      </dsp:txXfrm>
    </dsp:sp>
    <dsp:sp modelId="{E88F0E95-B7B0-482B-A77D-F380BFB4DB04}">
      <dsp:nvSpPr>
        <dsp:cNvPr id="0" name=""/>
        <dsp:cNvSpPr/>
      </dsp:nvSpPr>
      <dsp:spPr>
        <a:xfrm>
          <a:off x="5731761" y="2364249"/>
          <a:ext cx="2329100" cy="1397460"/>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128" tIns="119797" rIns="114128" bIns="119797" numCol="1" spcCol="1270" anchor="ctr" anchorCtr="0">
          <a:noAutofit/>
        </a:bodyPr>
        <a:lstStyle/>
        <a:p>
          <a:pPr marL="0" lvl="0" indent="0" algn="ctr" defTabSz="933450">
            <a:lnSpc>
              <a:spcPct val="90000"/>
            </a:lnSpc>
            <a:spcBef>
              <a:spcPct val="0"/>
            </a:spcBef>
            <a:spcAft>
              <a:spcPct val="35000"/>
            </a:spcAft>
            <a:buNone/>
          </a:pPr>
          <a:r>
            <a:rPr lang="en-US" sz="2100" kern="1200" dirty="0"/>
            <a:t>OTC+</a:t>
          </a:r>
        </a:p>
      </dsp:txBody>
      <dsp:txXfrm>
        <a:off x="5731761" y="2364249"/>
        <a:ext cx="2329100" cy="1397460"/>
      </dsp:txXfrm>
    </dsp:sp>
    <dsp:sp modelId="{DDC826D6-26CD-47FF-89A1-F57B768C2FC3}">
      <dsp:nvSpPr>
        <dsp:cNvPr id="0" name=""/>
        <dsp:cNvSpPr/>
      </dsp:nvSpPr>
      <dsp:spPr>
        <a:xfrm>
          <a:off x="8596554" y="2364249"/>
          <a:ext cx="2329100" cy="1397460"/>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128" tIns="119797" rIns="114128" bIns="119797"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ptos Display" panose="020F0302020204030204"/>
            </a:rPr>
            <a:t>OTC</a:t>
          </a:r>
        </a:p>
      </dsp:txBody>
      <dsp:txXfrm>
        <a:off x="8596554" y="2364249"/>
        <a:ext cx="2329100" cy="13974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E26883-E7E8-4CD1-9DE1-5D3715619C36}">
      <dsp:nvSpPr>
        <dsp:cNvPr id="0" name=""/>
        <dsp:cNvSpPr/>
      </dsp:nvSpPr>
      <dsp:spPr>
        <a:xfrm>
          <a:off x="3080" y="587032"/>
          <a:ext cx="2444055" cy="1466433"/>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Teaching and Learning Content Standards</a:t>
          </a:r>
        </a:p>
      </dsp:txBody>
      <dsp:txXfrm>
        <a:off x="3080" y="587032"/>
        <a:ext cx="2444055" cy="1466433"/>
      </dsp:txXfrm>
    </dsp:sp>
    <dsp:sp modelId="{34FDE534-B064-4ABD-A73B-6F25C62DBC37}">
      <dsp:nvSpPr>
        <dsp:cNvPr id="0" name=""/>
        <dsp:cNvSpPr/>
      </dsp:nvSpPr>
      <dsp:spPr>
        <a:xfrm>
          <a:off x="2691541" y="587032"/>
          <a:ext cx="2444055" cy="1466433"/>
        </a:xfrm>
        <a:prstGeom prst="rect">
          <a:avLst/>
        </a:prstGeom>
        <a:gradFill rotWithShape="0">
          <a:gsLst>
            <a:gs pos="0">
              <a:schemeClr val="accent2">
                <a:hueOff val="1073936"/>
                <a:satOff val="-3082"/>
                <a:lumOff val="-4935"/>
                <a:alphaOff val="0"/>
                <a:satMod val="103000"/>
                <a:lumMod val="102000"/>
                <a:tint val="94000"/>
              </a:schemeClr>
            </a:gs>
            <a:gs pos="50000">
              <a:schemeClr val="accent2">
                <a:hueOff val="1073936"/>
                <a:satOff val="-3082"/>
                <a:lumOff val="-4935"/>
                <a:alphaOff val="0"/>
                <a:satMod val="110000"/>
                <a:lumMod val="100000"/>
                <a:shade val="100000"/>
              </a:schemeClr>
            </a:gs>
            <a:gs pos="100000">
              <a:schemeClr val="accent2">
                <a:hueOff val="1073936"/>
                <a:satOff val="-3082"/>
                <a:lumOff val="-493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CTSO</a:t>
          </a:r>
        </a:p>
      </dsp:txBody>
      <dsp:txXfrm>
        <a:off x="2691541" y="587032"/>
        <a:ext cx="2444055" cy="1466433"/>
      </dsp:txXfrm>
    </dsp:sp>
    <dsp:sp modelId="{82456403-DB15-4124-AC85-F1CBB3C659F3}">
      <dsp:nvSpPr>
        <dsp:cNvPr id="0" name=""/>
        <dsp:cNvSpPr/>
      </dsp:nvSpPr>
      <dsp:spPr>
        <a:xfrm>
          <a:off x="5380002" y="587032"/>
          <a:ext cx="2444055" cy="1466433"/>
        </a:xfrm>
        <a:prstGeom prst="rect">
          <a:avLst/>
        </a:prstGeom>
        <a:gradFill rotWithShape="0">
          <a:gsLst>
            <a:gs pos="0">
              <a:schemeClr val="accent2">
                <a:hueOff val="2147871"/>
                <a:satOff val="-6164"/>
                <a:lumOff val="-9870"/>
                <a:alphaOff val="0"/>
                <a:satMod val="103000"/>
                <a:lumMod val="102000"/>
                <a:tint val="94000"/>
              </a:schemeClr>
            </a:gs>
            <a:gs pos="50000">
              <a:schemeClr val="accent2">
                <a:hueOff val="2147871"/>
                <a:satOff val="-6164"/>
                <a:lumOff val="-9870"/>
                <a:alphaOff val="0"/>
                <a:satMod val="110000"/>
                <a:lumMod val="100000"/>
                <a:shade val="100000"/>
              </a:schemeClr>
            </a:gs>
            <a:gs pos="100000">
              <a:schemeClr val="accent2">
                <a:hueOff val="2147871"/>
                <a:satOff val="-6164"/>
                <a:lumOff val="-987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Work Based Learning</a:t>
          </a:r>
        </a:p>
      </dsp:txBody>
      <dsp:txXfrm>
        <a:off x="5380002" y="587032"/>
        <a:ext cx="2444055" cy="1466433"/>
      </dsp:txXfrm>
    </dsp:sp>
    <dsp:sp modelId="{8D526F4B-4D41-4C1B-BDD8-2D7C20A4D0F7}">
      <dsp:nvSpPr>
        <dsp:cNvPr id="0" name=""/>
        <dsp:cNvSpPr/>
      </dsp:nvSpPr>
      <dsp:spPr>
        <a:xfrm>
          <a:off x="8068463" y="587032"/>
          <a:ext cx="2444055" cy="1466433"/>
        </a:xfrm>
        <a:prstGeom prst="rect">
          <a:avLst/>
        </a:prstGeom>
        <a:gradFill rotWithShape="0">
          <a:gsLst>
            <a:gs pos="0">
              <a:schemeClr val="accent2">
                <a:hueOff val="3221807"/>
                <a:satOff val="-9246"/>
                <a:lumOff val="-14805"/>
                <a:alphaOff val="0"/>
                <a:satMod val="103000"/>
                <a:lumMod val="102000"/>
                <a:tint val="94000"/>
              </a:schemeClr>
            </a:gs>
            <a:gs pos="50000">
              <a:schemeClr val="accent2">
                <a:hueOff val="3221807"/>
                <a:satOff val="-9246"/>
                <a:lumOff val="-14805"/>
                <a:alphaOff val="0"/>
                <a:satMod val="110000"/>
                <a:lumMod val="100000"/>
                <a:shade val="100000"/>
              </a:schemeClr>
            </a:gs>
            <a:gs pos="100000">
              <a:schemeClr val="accent2">
                <a:hueOff val="3221807"/>
                <a:satOff val="-9246"/>
                <a:lumOff val="-1480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a:t>Industry Recognized Credentials</a:t>
          </a:r>
        </a:p>
        <a:p>
          <a:pPr marL="114300" lvl="1" indent="-114300" algn="l" defTabSz="533400">
            <a:lnSpc>
              <a:spcPct val="90000"/>
            </a:lnSpc>
            <a:spcBef>
              <a:spcPct val="0"/>
            </a:spcBef>
            <a:spcAft>
              <a:spcPct val="15000"/>
            </a:spcAft>
            <a:buChar char="•"/>
          </a:pPr>
          <a:r>
            <a:rPr lang="en-US" sz="1200" kern="1200"/>
            <a:t>Points system</a:t>
          </a:r>
        </a:p>
      </dsp:txBody>
      <dsp:txXfrm>
        <a:off x="8068463" y="587032"/>
        <a:ext cx="2444055" cy="1466433"/>
      </dsp:txXfrm>
    </dsp:sp>
    <dsp:sp modelId="{7830AC48-7B4B-46B4-8CA9-CF292817AE56}">
      <dsp:nvSpPr>
        <dsp:cNvPr id="0" name=""/>
        <dsp:cNvSpPr/>
      </dsp:nvSpPr>
      <dsp:spPr>
        <a:xfrm>
          <a:off x="1347311" y="2297871"/>
          <a:ext cx="2444055" cy="1466433"/>
        </a:xfrm>
        <a:prstGeom prst="rect">
          <a:avLst/>
        </a:prstGeom>
        <a:gradFill rotWithShape="0">
          <a:gsLst>
            <a:gs pos="0">
              <a:schemeClr val="accent2">
                <a:hueOff val="4295743"/>
                <a:satOff val="-12329"/>
                <a:lumOff val="-19739"/>
                <a:alphaOff val="0"/>
                <a:satMod val="103000"/>
                <a:lumMod val="102000"/>
                <a:tint val="94000"/>
              </a:schemeClr>
            </a:gs>
            <a:gs pos="50000">
              <a:schemeClr val="accent2">
                <a:hueOff val="4295743"/>
                <a:satOff val="-12329"/>
                <a:lumOff val="-19739"/>
                <a:alphaOff val="0"/>
                <a:satMod val="110000"/>
                <a:lumMod val="100000"/>
                <a:shade val="100000"/>
              </a:schemeClr>
            </a:gs>
            <a:gs pos="100000">
              <a:schemeClr val="accent2">
                <a:hueOff val="4295743"/>
                <a:satOff val="-12329"/>
                <a:lumOff val="-1973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a:t>College Credit</a:t>
          </a:r>
        </a:p>
        <a:p>
          <a:pPr marL="114300" lvl="1" indent="-114300" algn="l" defTabSz="533400">
            <a:lnSpc>
              <a:spcPct val="90000"/>
            </a:lnSpc>
            <a:spcBef>
              <a:spcPct val="0"/>
            </a:spcBef>
            <a:spcAft>
              <a:spcPct val="15000"/>
            </a:spcAft>
            <a:buChar char="•"/>
          </a:pPr>
          <a:r>
            <a:rPr lang="en-US" sz="1200" kern="1200"/>
            <a:t>CTAG – ITAG</a:t>
          </a:r>
        </a:p>
        <a:p>
          <a:pPr marL="114300" lvl="1" indent="-114300" algn="l" defTabSz="533400">
            <a:lnSpc>
              <a:spcPct val="90000"/>
            </a:lnSpc>
            <a:spcBef>
              <a:spcPct val="0"/>
            </a:spcBef>
            <a:spcAft>
              <a:spcPct val="15000"/>
            </a:spcAft>
            <a:buChar char="•"/>
          </a:pPr>
          <a:r>
            <a:rPr lang="en-US" sz="1200" kern="1200"/>
            <a:t>CCP</a:t>
          </a:r>
        </a:p>
        <a:p>
          <a:pPr marL="114300" lvl="1" indent="-114300" algn="l" defTabSz="533400">
            <a:lnSpc>
              <a:spcPct val="90000"/>
            </a:lnSpc>
            <a:spcBef>
              <a:spcPct val="0"/>
            </a:spcBef>
            <a:spcAft>
              <a:spcPct val="15000"/>
            </a:spcAft>
            <a:buChar char="•"/>
          </a:pPr>
          <a:r>
            <a:rPr lang="en-US" sz="1200" kern="1200"/>
            <a:t>Articulated/Bilateral </a:t>
          </a:r>
        </a:p>
      </dsp:txBody>
      <dsp:txXfrm>
        <a:off x="1347311" y="2297871"/>
        <a:ext cx="2444055" cy="1466433"/>
      </dsp:txXfrm>
    </dsp:sp>
    <dsp:sp modelId="{3BBD452D-D26E-4E96-A492-4CABD20B252D}">
      <dsp:nvSpPr>
        <dsp:cNvPr id="0" name=""/>
        <dsp:cNvSpPr/>
      </dsp:nvSpPr>
      <dsp:spPr>
        <a:xfrm>
          <a:off x="4035772" y="2297871"/>
          <a:ext cx="2444055" cy="1466433"/>
        </a:xfrm>
        <a:prstGeom prst="rect">
          <a:avLst/>
        </a:prstGeom>
        <a:gradFill rotWithShape="0">
          <a:gsLst>
            <a:gs pos="0">
              <a:schemeClr val="accent2">
                <a:hueOff val="5369678"/>
                <a:satOff val="-15411"/>
                <a:lumOff val="-24674"/>
                <a:alphaOff val="0"/>
                <a:satMod val="103000"/>
                <a:lumMod val="102000"/>
                <a:tint val="94000"/>
              </a:schemeClr>
            </a:gs>
            <a:gs pos="50000">
              <a:schemeClr val="accent2">
                <a:hueOff val="5369678"/>
                <a:satOff val="-15411"/>
                <a:lumOff val="-24674"/>
                <a:alphaOff val="0"/>
                <a:satMod val="110000"/>
                <a:lumMod val="100000"/>
                <a:shade val="100000"/>
              </a:schemeClr>
            </a:gs>
            <a:gs pos="100000">
              <a:schemeClr val="accent2">
                <a:hueOff val="5369678"/>
                <a:satOff val="-15411"/>
                <a:lumOff val="-2467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Credit Flex</a:t>
          </a:r>
        </a:p>
      </dsp:txBody>
      <dsp:txXfrm>
        <a:off x="4035772" y="2297871"/>
        <a:ext cx="2444055" cy="1466433"/>
      </dsp:txXfrm>
    </dsp:sp>
    <dsp:sp modelId="{5AE4969B-AECA-48B9-AD3B-C7F30B3B5652}">
      <dsp:nvSpPr>
        <dsp:cNvPr id="0" name=""/>
        <dsp:cNvSpPr/>
      </dsp:nvSpPr>
      <dsp:spPr>
        <a:xfrm>
          <a:off x="6724233" y="2297871"/>
          <a:ext cx="2444055" cy="1466433"/>
        </a:xfrm>
        <a:prstGeom prst="rect">
          <a:avLst/>
        </a:prstGeom>
        <a:gradFill rotWithShape="0">
          <a:gsLst>
            <a:gs pos="0">
              <a:schemeClr val="accent2">
                <a:hueOff val="6443614"/>
                <a:satOff val="-18493"/>
                <a:lumOff val="-29609"/>
                <a:alphaOff val="0"/>
                <a:satMod val="103000"/>
                <a:lumMod val="102000"/>
                <a:tint val="94000"/>
              </a:schemeClr>
            </a:gs>
            <a:gs pos="50000">
              <a:schemeClr val="accent2">
                <a:hueOff val="6443614"/>
                <a:satOff val="-18493"/>
                <a:lumOff val="-29609"/>
                <a:alphaOff val="0"/>
                <a:satMod val="110000"/>
                <a:lumMod val="100000"/>
                <a:shade val="100000"/>
              </a:schemeClr>
            </a:gs>
            <a:gs pos="100000">
              <a:schemeClr val="accent2">
                <a:hueOff val="6443614"/>
                <a:satOff val="-18493"/>
                <a:lumOff val="-2960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Complementary Academics</a:t>
          </a:r>
        </a:p>
      </dsp:txBody>
      <dsp:txXfrm>
        <a:off x="6724233" y="2297871"/>
        <a:ext cx="2444055" cy="146643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915775-2B66-4EAD-B461-A846D8DE3AF1}">
      <dsp:nvSpPr>
        <dsp:cNvPr id="0" name=""/>
        <dsp:cNvSpPr/>
      </dsp:nvSpPr>
      <dsp:spPr>
        <a:xfrm>
          <a:off x="0" y="4366"/>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374A59F-276F-4C2C-9FF0-E6D7613918D3}">
      <dsp:nvSpPr>
        <dsp:cNvPr id="0" name=""/>
        <dsp:cNvSpPr/>
      </dsp:nvSpPr>
      <dsp:spPr>
        <a:xfrm>
          <a:off x="281355" y="213639"/>
          <a:ext cx="511556" cy="5115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F6C028-8D77-4CD8-A4F2-D50BDE5D89F5}">
      <dsp:nvSpPr>
        <dsp:cNvPr id="0" name=""/>
        <dsp:cNvSpPr/>
      </dsp:nvSpPr>
      <dsp:spPr>
        <a:xfrm>
          <a:off x="1074268" y="4366"/>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100000"/>
            </a:lnSpc>
            <a:spcBef>
              <a:spcPct val="0"/>
            </a:spcBef>
            <a:spcAft>
              <a:spcPct val="35000"/>
            </a:spcAft>
            <a:buNone/>
          </a:pPr>
          <a:r>
            <a:rPr lang="en-US" sz="1900" kern="1200"/>
            <a:t>State Share</a:t>
          </a:r>
        </a:p>
      </dsp:txBody>
      <dsp:txXfrm>
        <a:off x="1074268" y="4366"/>
        <a:ext cx="5170996" cy="930102"/>
      </dsp:txXfrm>
    </dsp:sp>
    <dsp:sp modelId="{F2F2C921-788C-4720-B3BD-8040A72EA58A}">
      <dsp:nvSpPr>
        <dsp:cNvPr id="0" name=""/>
        <dsp:cNvSpPr/>
      </dsp:nvSpPr>
      <dsp:spPr>
        <a:xfrm>
          <a:off x="0" y="1166994"/>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FCA3D5B-6AD7-4FC1-A40E-11C672AF8866}">
      <dsp:nvSpPr>
        <dsp:cNvPr id="0" name=""/>
        <dsp:cNvSpPr/>
      </dsp:nvSpPr>
      <dsp:spPr>
        <a:xfrm>
          <a:off x="281355" y="1376267"/>
          <a:ext cx="511556" cy="5115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DB0B466-2DAB-43B5-8F13-97F335E24A34}">
      <dsp:nvSpPr>
        <dsp:cNvPr id="0" name=""/>
        <dsp:cNvSpPr/>
      </dsp:nvSpPr>
      <dsp:spPr>
        <a:xfrm>
          <a:off x="1074268" y="1166994"/>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100000"/>
            </a:lnSpc>
            <a:spcBef>
              <a:spcPct val="0"/>
            </a:spcBef>
            <a:spcAft>
              <a:spcPct val="35000"/>
            </a:spcAft>
            <a:buNone/>
          </a:pPr>
          <a:r>
            <a:rPr lang="en-US" sz="1900" kern="1200"/>
            <a:t>Local Property Taxes</a:t>
          </a:r>
        </a:p>
      </dsp:txBody>
      <dsp:txXfrm>
        <a:off x="1074268" y="1166994"/>
        <a:ext cx="5170996" cy="930102"/>
      </dsp:txXfrm>
    </dsp:sp>
    <dsp:sp modelId="{B502EDF3-8927-4B3B-AB39-00C492DF1902}">
      <dsp:nvSpPr>
        <dsp:cNvPr id="0" name=""/>
        <dsp:cNvSpPr/>
      </dsp:nvSpPr>
      <dsp:spPr>
        <a:xfrm>
          <a:off x="0" y="2329622"/>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686C6E-533B-417B-B46C-0206351EDD71}">
      <dsp:nvSpPr>
        <dsp:cNvPr id="0" name=""/>
        <dsp:cNvSpPr/>
      </dsp:nvSpPr>
      <dsp:spPr>
        <a:xfrm>
          <a:off x="281355" y="2538895"/>
          <a:ext cx="511556" cy="51155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B7040FA-FED1-4BC0-A44C-36EAB72A6426}">
      <dsp:nvSpPr>
        <dsp:cNvPr id="0" name=""/>
        <dsp:cNvSpPr/>
      </dsp:nvSpPr>
      <dsp:spPr>
        <a:xfrm>
          <a:off x="1074268" y="2329622"/>
          <a:ext cx="2810369"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100000"/>
            </a:lnSpc>
            <a:spcBef>
              <a:spcPct val="0"/>
            </a:spcBef>
            <a:spcAft>
              <a:spcPct val="35000"/>
            </a:spcAft>
            <a:buNone/>
          </a:pPr>
          <a:r>
            <a:rPr lang="en-US" sz="1900" kern="1200"/>
            <a:t>Perkins V</a:t>
          </a:r>
        </a:p>
      </dsp:txBody>
      <dsp:txXfrm>
        <a:off x="1074268" y="2329622"/>
        <a:ext cx="2810369" cy="930102"/>
      </dsp:txXfrm>
    </dsp:sp>
    <dsp:sp modelId="{1E7FF9DA-E052-450A-B3FF-827456D09042}">
      <dsp:nvSpPr>
        <dsp:cNvPr id="0" name=""/>
        <dsp:cNvSpPr/>
      </dsp:nvSpPr>
      <dsp:spPr>
        <a:xfrm>
          <a:off x="3884637" y="2329622"/>
          <a:ext cx="2360627"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00100">
            <a:lnSpc>
              <a:spcPct val="100000"/>
            </a:lnSpc>
            <a:spcBef>
              <a:spcPct val="0"/>
            </a:spcBef>
            <a:spcAft>
              <a:spcPct val="35000"/>
            </a:spcAft>
            <a:buNone/>
          </a:pPr>
          <a:r>
            <a:rPr lang="en-US" sz="1800" kern="1200"/>
            <a:t>Equity</a:t>
          </a:r>
        </a:p>
        <a:p>
          <a:pPr marL="0" lvl="0" indent="0" algn="l" defTabSz="800100">
            <a:lnSpc>
              <a:spcPct val="100000"/>
            </a:lnSpc>
            <a:spcBef>
              <a:spcPct val="0"/>
            </a:spcBef>
            <a:spcAft>
              <a:spcPct val="35000"/>
            </a:spcAft>
            <a:buNone/>
          </a:pPr>
          <a:r>
            <a:rPr lang="en-US" sz="1800" kern="1200"/>
            <a:t>New programs</a:t>
          </a:r>
        </a:p>
      </dsp:txBody>
      <dsp:txXfrm>
        <a:off x="3884637" y="2329622"/>
        <a:ext cx="2360627" cy="930102"/>
      </dsp:txXfrm>
    </dsp:sp>
    <dsp:sp modelId="{6B0FD2E9-AAD6-4E5F-A519-09438976BD25}">
      <dsp:nvSpPr>
        <dsp:cNvPr id="0" name=""/>
        <dsp:cNvSpPr/>
      </dsp:nvSpPr>
      <dsp:spPr>
        <a:xfrm>
          <a:off x="0" y="3492250"/>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3BB4953-5774-4062-A533-567E990F4B74}">
      <dsp:nvSpPr>
        <dsp:cNvPr id="0" name=""/>
        <dsp:cNvSpPr/>
      </dsp:nvSpPr>
      <dsp:spPr>
        <a:xfrm>
          <a:off x="281355" y="3701523"/>
          <a:ext cx="511556" cy="51155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3E0F42C-8F46-401E-842E-CDE0D760FC61}">
      <dsp:nvSpPr>
        <dsp:cNvPr id="0" name=""/>
        <dsp:cNvSpPr/>
      </dsp:nvSpPr>
      <dsp:spPr>
        <a:xfrm>
          <a:off x="1074268" y="3492250"/>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100000"/>
            </a:lnSpc>
            <a:spcBef>
              <a:spcPct val="0"/>
            </a:spcBef>
            <a:spcAft>
              <a:spcPct val="35000"/>
            </a:spcAft>
            <a:buNone/>
          </a:pPr>
          <a:r>
            <a:rPr lang="en-US" sz="1900" kern="1200"/>
            <a:t>Grants</a:t>
          </a:r>
        </a:p>
      </dsp:txBody>
      <dsp:txXfrm>
        <a:off x="1074268" y="3492250"/>
        <a:ext cx="5170996" cy="930102"/>
      </dsp:txXfrm>
    </dsp:sp>
    <dsp:sp modelId="{669110C4-6C0B-4E01-BF26-AC344B06F854}">
      <dsp:nvSpPr>
        <dsp:cNvPr id="0" name=""/>
        <dsp:cNvSpPr/>
      </dsp:nvSpPr>
      <dsp:spPr>
        <a:xfrm>
          <a:off x="0" y="4654878"/>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B0B560-06E3-4982-AF1D-BD81484DB70D}">
      <dsp:nvSpPr>
        <dsp:cNvPr id="0" name=""/>
        <dsp:cNvSpPr/>
      </dsp:nvSpPr>
      <dsp:spPr>
        <a:xfrm>
          <a:off x="281355" y="4864151"/>
          <a:ext cx="511556" cy="51155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18E716F-4508-4859-A876-8797A71EB956}">
      <dsp:nvSpPr>
        <dsp:cNvPr id="0" name=""/>
        <dsp:cNvSpPr/>
      </dsp:nvSpPr>
      <dsp:spPr>
        <a:xfrm>
          <a:off x="1074268" y="4654878"/>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100000"/>
            </a:lnSpc>
            <a:spcBef>
              <a:spcPct val="0"/>
            </a:spcBef>
            <a:spcAft>
              <a:spcPct val="35000"/>
            </a:spcAft>
            <a:buNone/>
          </a:pPr>
          <a:r>
            <a:rPr lang="en-US" sz="1900" kern="1200"/>
            <a:t>Business Support</a:t>
          </a:r>
        </a:p>
      </dsp:txBody>
      <dsp:txXfrm>
        <a:off x="1074268" y="4654878"/>
        <a:ext cx="5170996" cy="9301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15E83E-8645-4167-849F-41B57E092DAC}">
      <dsp:nvSpPr>
        <dsp:cNvPr id="0" name=""/>
        <dsp:cNvSpPr/>
      </dsp:nvSpPr>
      <dsp:spPr>
        <a:xfrm>
          <a:off x="4296" y="600"/>
          <a:ext cx="10507007" cy="1330047"/>
        </a:xfrm>
        <a:prstGeom prst="roundRect">
          <a:avLst>
            <a:gd name="adj" fmla="val 10000"/>
          </a:avLst>
        </a:prstGeom>
        <a:solidFill>
          <a:schemeClr val="accent1">
            <a:shade val="60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98120" tIns="198120" rIns="198120" bIns="198120" numCol="1" spcCol="1270" anchor="ctr" anchorCtr="0">
          <a:noAutofit/>
        </a:bodyPr>
        <a:lstStyle/>
        <a:p>
          <a:pPr marL="0" lvl="0" indent="0" algn="ctr" defTabSz="2311400" rtl="0">
            <a:lnSpc>
              <a:spcPct val="90000"/>
            </a:lnSpc>
            <a:spcBef>
              <a:spcPct val="0"/>
            </a:spcBef>
            <a:spcAft>
              <a:spcPct val="35000"/>
            </a:spcAft>
            <a:buNone/>
          </a:pPr>
          <a:r>
            <a:rPr lang="en-US" sz="5200" kern="1200" dirty="0">
              <a:latin typeface="Calibri Light" panose="020F0302020204030204"/>
            </a:rPr>
            <a:t>2024</a:t>
          </a:r>
          <a:r>
            <a:rPr lang="en-US" sz="5200" kern="1200" dirty="0"/>
            <a:t> Greene County Career Center</a:t>
          </a:r>
          <a:endParaRPr lang="en-US" sz="5200" kern="1200" dirty="0">
            <a:latin typeface="Calibri Light" panose="020F0302020204030204"/>
          </a:endParaRPr>
        </a:p>
      </dsp:txBody>
      <dsp:txXfrm>
        <a:off x="43252" y="39556"/>
        <a:ext cx="10429095" cy="1252135"/>
      </dsp:txXfrm>
    </dsp:sp>
    <dsp:sp modelId="{D85A078E-3932-4214-ACCE-38FCD334DF07}">
      <dsp:nvSpPr>
        <dsp:cNvPr id="0" name=""/>
        <dsp:cNvSpPr/>
      </dsp:nvSpPr>
      <dsp:spPr>
        <a:xfrm>
          <a:off x="4296" y="1510645"/>
          <a:ext cx="5174494" cy="1330047"/>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dirty="0"/>
            <a:t>Main Campus</a:t>
          </a:r>
        </a:p>
      </dsp:txBody>
      <dsp:txXfrm>
        <a:off x="43252" y="1549601"/>
        <a:ext cx="5096582" cy="1252135"/>
      </dsp:txXfrm>
    </dsp:sp>
    <dsp:sp modelId="{BB4A0C47-3E91-412A-BBC2-63F9440FAAB5}">
      <dsp:nvSpPr>
        <dsp:cNvPr id="0" name=""/>
        <dsp:cNvSpPr/>
      </dsp:nvSpPr>
      <dsp:spPr>
        <a:xfrm>
          <a:off x="4296" y="3020690"/>
          <a:ext cx="1254118" cy="1330047"/>
        </a:xfrm>
        <a:prstGeom prst="roundRect">
          <a:avLst>
            <a:gd name="adj" fmla="val 10000"/>
          </a:avLst>
        </a:prstGeom>
        <a:solidFill>
          <a:schemeClr val="accent1">
            <a:tint val="99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ptos Display" panose="020F0302020204030204"/>
            </a:rPr>
            <a:t>22</a:t>
          </a:r>
          <a:r>
            <a:rPr lang="en-US" sz="1400" kern="1200" dirty="0"/>
            <a:t> Workforce Development Programs</a:t>
          </a:r>
        </a:p>
      </dsp:txBody>
      <dsp:txXfrm>
        <a:off x="41028" y="3057422"/>
        <a:ext cx="1180654" cy="1256583"/>
      </dsp:txXfrm>
    </dsp:sp>
    <dsp:sp modelId="{78528E00-DBCB-4653-A361-E65CD47A5FFA}">
      <dsp:nvSpPr>
        <dsp:cNvPr id="0" name=""/>
        <dsp:cNvSpPr/>
      </dsp:nvSpPr>
      <dsp:spPr>
        <a:xfrm>
          <a:off x="1311088" y="3020690"/>
          <a:ext cx="1254118" cy="1330047"/>
        </a:xfrm>
        <a:prstGeom prst="roundRect">
          <a:avLst>
            <a:gd name="adj" fmla="val 10000"/>
          </a:avLst>
        </a:prstGeom>
        <a:solidFill>
          <a:schemeClr val="accent1">
            <a:tint val="99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3 </a:t>
          </a:r>
          <a:r>
            <a:rPr lang="en-US" sz="1400" kern="1200" dirty="0">
              <a:latin typeface="Calibri Light" panose="020F0302020204030204"/>
            </a:rPr>
            <a:t>Transition</a:t>
          </a:r>
          <a:r>
            <a:rPr lang="en-US" sz="1400" kern="1200" dirty="0"/>
            <a:t> to Workforce Programs</a:t>
          </a:r>
        </a:p>
      </dsp:txBody>
      <dsp:txXfrm>
        <a:off x="1347820" y="3057422"/>
        <a:ext cx="1180654" cy="1256583"/>
      </dsp:txXfrm>
    </dsp:sp>
    <dsp:sp modelId="{0394EFFC-A296-4BEC-9B1E-BE1873AA76BD}">
      <dsp:nvSpPr>
        <dsp:cNvPr id="0" name=""/>
        <dsp:cNvSpPr/>
      </dsp:nvSpPr>
      <dsp:spPr>
        <a:xfrm>
          <a:off x="2617879" y="3020690"/>
          <a:ext cx="1254118" cy="1330047"/>
        </a:xfrm>
        <a:prstGeom prst="roundRect">
          <a:avLst>
            <a:gd name="adj" fmla="val 10000"/>
          </a:avLst>
        </a:prstGeom>
        <a:solidFill>
          <a:schemeClr val="accent1">
            <a:tint val="99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4 Academics Content Areas</a:t>
          </a:r>
        </a:p>
      </dsp:txBody>
      <dsp:txXfrm>
        <a:off x="2654611" y="3057422"/>
        <a:ext cx="1180654" cy="1256583"/>
      </dsp:txXfrm>
    </dsp:sp>
    <dsp:sp modelId="{0C329572-C305-45B0-922C-E9CFC36A15C3}">
      <dsp:nvSpPr>
        <dsp:cNvPr id="0" name=""/>
        <dsp:cNvSpPr/>
      </dsp:nvSpPr>
      <dsp:spPr>
        <a:xfrm>
          <a:off x="3924671" y="3020690"/>
          <a:ext cx="1254118" cy="1330047"/>
        </a:xfrm>
        <a:prstGeom prst="roundRect">
          <a:avLst>
            <a:gd name="adj" fmla="val 10000"/>
          </a:avLst>
        </a:prstGeom>
        <a:solidFill>
          <a:schemeClr val="accent1">
            <a:tint val="99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t>1 Adult Education</a:t>
          </a:r>
          <a:r>
            <a:rPr lang="en-US" sz="1400" kern="1200" dirty="0">
              <a:latin typeface="Calibri Light" panose="020F0302020204030204"/>
            </a:rPr>
            <a:t> OPOTA</a:t>
          </a:r>
          <a:r>
            <a:rPr lang="en-US" sz="1400" kern="1200" dirty="0"/>
            <a:t> Program</a:t>
          </a:r>
        </a:p>
      </dsp:txBody>
      <dsp:txXfrm>
        <a:off x="3961403" y="3057422"/>
        <a:ext cx="1180654" cy="1256583"/>
      </dsp:txXfrm>
    </dsp:sp>
    <dsp:sp modelId="{CF61C8C0-B2AA-49A0-942F-0A7614E4453C}">
      <dsp:nvSpPr>
        <dsp:cNvPr id="0" name=""/>
        <dsp:cNvSpPr/>
      </dsp:nvSpPr>
      <dsp:spPr>
        <a:xfrm>
          <a:off x="5284136" y="1510645"/>
          <a:ext cx="2560910" cy="1330047"/>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rtl="0">
            <a:lnSpc>
              <a:spcPct val="90000"/>
            </a:lnSpc>
            <a:spcBef>
              <a:spcPct val="0"/>
            </a:spcBef>
            <a:spcAft>
              <a:spcPct val="35000"/>
            </a:spcAft>
            <a:buNone/>
          </a:pPr>
          <a:r>
            <a:rPr lang="en-US" sz="3500" kern="1200" dirty="0">
              <a:latin typeface="Calibri Light" panose="020F0302020204030204"/>
            </a:rPr>
            <a:t>2 Auxiliary Campuses</a:t>
          </a:r>
        </a:p>
      </dsp:txBody>
      <dsp:txXfrm>
        <a:off x="5323092" y="1549601"/>
        <a:ext cx="2482998" cy="1252135"/>
      </dsp:txXfrm>
    </dsp:sp>
    <dsp:sp modelId="{8C5E79C7-AAA0-4739-96F4-8755924A1ACE}">
      <dsp:nvSpPr>
        <dsp:cNvPr id="0" name=""/>
        <dsp:cNvSpPr/>
      </dsp:nvSpPr>
      <dsp:spPr>
        <a:xfrm>
          <a:off x="5284136" y="3020690"/>
          <a:ext cx="1254118" cy="1330047"/>
        </a:xfrm>
        <a:prstGeom prst="roundRect">
          <a:avLst>
            <a:gd name="adj" fmla="val 10000"/>
          </a:avLst>
        </a:prstGeom>
        <a:solidFill>
          <a:schemeClr val="accent1">
            <a:tint val="99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Calibri Light" panose="020F0302020204030204"/>
            </a:rPr>
            <a:t>AMT @ GC Airport</a:t>
          </a:r>
        </a:p>
      </dsp:txBody>
      <dsp:txXfrm>
        <a:off x="5320868" y="3057422"/>
        <a:ext cx="1180654" cy="1256583"/>
      </dsp:txXfrm>
    </dsp:sp>
    <dsp:sp modelId="{286B909F-37DC-4ADC-8751-A67E725158C0}">
      <dsp:nvSpPr>
        <dsp:cNvPr id="0" name=""/>
        <dsp:cNvSpPr/>
      </dsp:nvSpPr>
      <dsp:spPr>
        <a:xfrm>
          <a:off x="6590928" y="3020690"/>
          <a:ext cx="1254118" cy="1330047"/>
        </a:xfrm>
        <a:prstGeom prst="roundRect">
          <a:avLst>
            <a:gd name="adj" fmla="val 10000"/>
          </a:avLst>
        </a:prstGeom>
        <a:solidFill>
          <a:schemeClr val="accent1">
            <a:tint val="99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Calibri Light" panose="020F0302020204030204"/>
            </a:rPr>
            <a:t>Project Search @ Soin Hospital</a:t>
          </a:r>
        </a:p>
      </dsp:txBody>
      <dsp:txXfrm>
        <a:off x="6627660" y="3057422"/>
        <a:ext cx="1180654" cy="1256583"/>
      </dsp:txXfrm>
    </dsp:sp>
    <dsp:sp modelId="{E4D6EDEA-6214-48BA-B392-1A7FDD8EBF7F}">
      <dsp:nvSpPr>
        <dsp:cNvPr id="0" name=""/>
        <dsp:cNvSpPr/>
      </dsp:nvSpPr>
      <dsp:spPr>
        <a:xfrm>
          <a:off x="7950393" y="1510645"/>
          <a:ext cx="2560910" cy="1330047"/>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dirty="0">
              <a:latin typeface="Calibri Light" panose="020F0302020204030204"/>
            </a:rPr>
            <a:t>14</a:t>
          </a:r>
          <a:r>
            <a:rPr lang="en-US" sz="3500" kern="1200" dirty="0"/>
            <a:t> Satellite Campuses</a:t>
          </a:r>
        </a:p>
      </dsp:txBody>
      <dsp:txXfrm>
        <a:off x="7989349" y="1549601"/>
        <a:ext cx="2482998" cy="1252135"/>
      </dsp:txXfrm>
    </dsp:sp>
    <dsp:sp modelId="{0D90BF13-1E76-4DD7-BBE6-E899887A20C5}">
      <dsp:nvSpPr>
        <dsp:cNvPr id="0" name=""/>
        <dsp:cNvSpPr/>
      </dsp:nvSpPr>
      <dsp:spPr>
        <a:xfrm>
          <a:off x="7950393" y="3020690"/>
          <a:ext cx="1254118" cy="1330047"/>
        </a:xfrm>
        <a:prstGeom prst="roundRect">
          <a:avLst>
            <a:gd name="adj" fmla="val 10000"/>
          </a:avLst>
        </a:prstGeom>
        <a:solidFill>
          <a:schemeClr val="accent1">
            <a:tint val="99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Aptos Display" panose="020F0302020204030204"/>
            </a:rPr>
            <a:t>19</a:t>
          </a:r>
          <a:r>
            <a:rPr lang="en-US" sz="1400" kern="1200" dirty="0"/>
            <a:t> GCCC Programs</a:t>
          </a:r>
          <a:r>
            <a:rPr lang="en-US" sz="1400" kern="1200" dirty="0">
              <a:latin typeface="Calibri Light" panose="020F0302020204030204"/>
            </a:rPr>
            <a:t> </a:t>
          </a:r>
        </a:p>
      </dsp:txBody>
      <dsp:txXfrm>
        <a:off x="7987125" y="3057422"/>
        <a:ext cx="1180654" cy="1256583"/>
      </dsp:txXfrm>
    </dsp:sp>
    <dsp:sp modelId="{EDCF8A83-4C87-4748-80DD-1D66E7D39BE6}">
      <dsp:nvSpPr>
        <dsp:cNvPr id="0" name=""/>
        <dsp:cNvSpPr/>
      </dsp:nvSpPr>
      <dsp:spPr>
        <a:xfrm>
          <a:off x="9257184" y="3020690"/>
          <a:ext cx="1254118" cy="1330047"/>
        </a:xfrm>
        <a:prstGeom prst="roundRect">
          <a:avLst>
            <a:gd name="adj" fmla="val 10000"/>
          </a:avLst>
        </a:prstGeom>
        <a:solidFill>
          <a:schemeClr val="accent1">
            <a:tint val="99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8 CTPD Programs</a:t>
          </a:r>
        </a:p>
      </dsp:txBody>
      <dsp:txXfrm>
        <a:off x="9293916" y="3057422"/>
        <a:ext cx="1180654" cy="125658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B55028-1752-41DE-9514-C28D07490EB0}">
      <dsp:nvSpPr>
        <dsp:cNvPr id="0" name=""/>
        <dsp:cNvSpPr/>
      </dsp:nvSpPr>
      <dsp:spPr>
        <a:xfrm>
          <a:off x="913895" y="0"/>
          <a:ext cx="10357483" cy="6491661"/>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DADEA6-4EF4-4266-9C3D-EBA7FCEC7336}">
      <dsp:nvSpPr>
        <dsp:cNvPr id="0" name=""/>
        <dsp:cNvSpPr/>
      </dsp:nvSpPr>
      <dsp:spPr>
        <a:xfrm>
          <a:off x="5354" y="1947498"/>
          <a:ext cx="2341262" cy="2596664"/>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622300" rtl="0">
            <a:lnSpc>
              <a:spcPct val="90000"/>
            </a:lnSpc>
            <a:spcBef>
              <a:spcPct val="0"/>
            </a:spcBef>
            <a:spcAft>
              <a:spcPct val="35000"/>
            </a:spcAft>
            <a:buNone/>
          </a:pPr>
          <a:r>
            <a:rPr lang="en-US" sz="1400" kern="1200" dirty="0">
              <a:latin typeface="Aptos"/>
            </a:rPr>
            <a:t>Elementary K-6 </a:t>
          </a:r>
        </a:p>
        <a:p>
          <a:pPr marL="57150" lvl="1" indent="-57150" algn="l" defTabSz="488950">
            <a:lnSpc>
              <a:spcPct val="90000"/>
            </a:lnSpc>
            <a:spcBef>
              <a:spcPct val="0"/>
            </a:spcBef>
            <a:spcAft>
              <a:spcPct val="15000"/>
            </a:spcAft>
            <a:buChar char="•"/>
          </a:pPr>
          <a:r>
            <a:rPr lang="en-US" sz="1100" kern="1200" dirty="0">
              <a:latin typeface="Aptos"/>
            </a:rPr>
            <a:t>STEM Activities and resources </a:t>
          </a:r>
        </a:p>
        <a:p>
          <a:pPr marL="57150" lvl="1" indent="-57150" algn="l" defTabSz="488950">
            <a:lnSpc>
              <a:spcPct val="90000"/>
            </a:lnSpc>
            <a:spcBef>
              <a:spcPct val="0"/>
            </a:spcBef>
            <a:spcAft>
              <a:spcPct val="15000"/>
            </a:spcAft>
            <a:buChar char="•"/>
          </a:pPr>
          <a:r>
            <a:rPr lang="en-US" sz="1100" kern="1200" dirty="0">
              <a:latin typeface="Aptos"/>
            </a:rPr>
            <a:t>Micro-Grants</a:t>
          </a:r>
        </a:p>
      </dsp:txBody>
      <dsp:txXfrm>
        <a:off x="119645" y="2061789"/>
        <a:ext cx="2112680" cy="2368082"/>
      </dsp:txXfrm>
    </dsp:sp>
    <dsp:sp modelId="{6551F681-4907-4E42-BDBE-A674371BDE1C}">
      <dsp:nvSpPr>
        <dsp:cNvPr id="0" name=""/>
        <dsp:cNvSpPr/>
      </dsp:nvSpPr>
      <dsp:spPr>
        <a:xfrm>
          <a:off x="2463680" y="1947498"/>
          <a:ext cx="2341262" cy="2596664"/>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latin typeface="Aptos"/>
            </a:rPr>
            <a:t>Middle School 6-8</a:t>
          </a:r>
        </a:p>
        <a:p>
          <a:pPr marL="57150" lvl="1" indent="-57150" algn="l" defTabSz="488950">
            <a:lnSpc>
              <a:spcPct val="90000"/>
            </a:lnSpc>
            <a:spcBef>
              <a:spcPct val="0"/>
            </a:spcBef>
            <a:spcAft>
              <a:spcPct val="15000"/>
            </a:spcAft>
            <a:buChar char="•"/>
          </a:pPr>
          <a:r>
            <a:rPr lang="en-US" sz="1100" kern="1200" dirty="0">
              <a:latin typeface="Aptos"/>
            </a:rPr>
            <a:t>STEM Camp</a:t>
          </a:r>
        </a:p>
        <a:p>
          <a:pPr marL="57150" lvl="1" indent="-57150" algn="l" defTabSz="488950">
            <a:lnSpc>
              <a:spcPct val="90000"/>
            </a:lnSpc>
            <a:spcBef>
              <a:spcPct val="0"/>
            </a:spcBef>
            <a:spcAft>
              <a:spcPct val="15000"/>
            </a:spcAft>
            <a:buChar char="•"/>
          </a:pPr>
          <a:r>
            <a:rPr lang="en-US" sz="1100" kern="1200" dirty="0">
              <a:latin typeface="Aptos"/>
            </a:rPr>
            <a:t>Middle School Engineering Programming</a:t>
          </a:r>
        </a:p>
        <a:p>
          <a:pPr marL="114300" lvl="2" indent="-57150" algn="l" defTabSz="488950">
            <a:lnSpc>
              <a:spcPct val="90000"/>
            </a:lnSpc>
            <a:spcBef>
              <a:spcPct val="0"/>
            </a:spcBef>
            <a:spcAft>
              <a:spcPct val="15000"/>
            </a:spcAft>
            <a:buChar char="•"/>
          </a:pPr>
          <a:r>
            <a:rPr lang="en-US" sz="1100" kern="1200" dirty="0">
              <a:latin typeface="Aptos"/>
            </a:rPr>
            <a:t>Mix of Satellite GCCC and District Owned</a:t>
          </a:r>
        </a:p>
        <a:p>
          <a:pPr marL="114300" lvl="2" indent="-57150" algn="l" defTabSz="488950">
            <a:lnSpc>
              <a:spcPct val="90000"/>
            </a:lnSpc>
            <a:spcBef>
              <a:spcPct val="0"/>
            </a:spcBef>
            <a:spcAft>
              <a:spcPct val="15000"/>
            </a:spcAft>
            <a:buChar char="•"/>
          </a:pPr>
          <a:r>
            <a:rPr lang="en-US" sz="1100" kern="1200" dirty="0">
              <a:latin typeface="Aptos"/>
            </a:rPr>
            <a:t>PLTW Robotics, Flight and Space, Introduction to Engineering Design</a:t>
          </a:r>
        </a:p>
      </dsp:txBody>
      <dsp:txXfrm>
        <a:off x="2577971" y="2061789"/>
        <a:ext cx="2112680" cy="2368082"/>
      </dsp:txXfrm>
    </dsp:sp>
    <dsp:sp modelId="{DDF31AC2-8AB6-4ADE-A25C-65A4D69DB23A}">
      <dsp:nvSpPr>
        <dsp:cNvPr id="0" name=""/>
        <dsp:cNvSpPr/>
      </dsp:nvSpPr>
      <dsp:spPr>
        <a:xfrm>
          <a:off x="4922006" y="1947498"/>
          <a:ext cx="2341262" cy="2596664"/>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latin typeface="Aptos"/>
            </a:rPr>
            <a:t>High School 9-12</a:t>
          </a:r>
        </a:p>
        <a:p>
          <a:pPr marL="57150" lvl="1" indent="-57150" algn="l" defTabSz="488950">
            <a:lnSpc>
              <a:spcPct val="90000"/>
            </a:lnSpc>
            <a:spcBef>
              <a:spcPct val="0"/>
            </a:spcBef>
            <a:spcAft>
              <a:spcPct val="15000"/>
            </a:spcAft>
            <a:buChar char="•"/>
          </a:pPr>
          <a:r>
            <a:rPr lang="en-US" sz="1100" kern="1200" dirty="0">
              <a:latin typeface="Aptos"/>
            </a:rPr>
            <a:t>Satellite Engineering Courses</a:t>
          </a:r>
        </a:p>
      </dsp:txBody>
      <dsp:txXfrm>
        <a:off x="5036297" y="2061789"/>
        <a:ext cx="2112680" cy="2368082"/>
      </dsp:txXfrm>
    </dsp:sp>
    <dsp:sp modelId="{2E0370E3-3641-460E-84E0-DB2FA4D59F3B}">
      <dsp:nvSpPr>
        <dsp:cNvPr id="0" name=""/>
        <dsp:cNvSpPr/>
      </dsp:nvSpPr>
      <dsp:spPr>
        <a:xfrm>
          <a:off x="7380331" y="1947498"/>
          <a:ext cx="2341262" cy="2596664"/>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latin typeface="Aptos"/>
            </a:rPr>
            <a:t>Career Center</a:t>
          </a:r>
        </a:p>
        <a:p>
          <a:pPr marL="57150" lvl="1" indent="-57150" algn="l" defTabSz="488950">
            <a:lnSpc>
              <a:spcPct val="90000"/>
            </a:lnSpc>
            <a:spcBef>
              <a:spcPct val="0"/>
            </a:spcBef>
            <a:spcAft>
              <a:spcPct val="15000"/>
            </a:spcAft>
            <a:buChar char="•"/>
          </a:pPr>
          <a:r>
            <a:rPr lang="en-US" sz="1100" kern="1200" dirty="0">
              <a:latin typeface="Aptos"/>
            </a:rPr>
            <a:t>Manufacturing Academy</a:t>
          </a:r>
        </a:p>
        <a:p>
          <a:pPr marL="114300" lvl="2" indent="-57150" algn="l" defTabSz="488950">
            <a:lnSpc>
              <a:spcPct val="90000"/>
            </a:lnSpc>
            <a:spcBef>
              <a:spcPct val="0"/>
            </a:spcBef>
            <a:spcAft>
              <a:spcPct val="15000"/>
            </a:spcAft>
            <a:buChar char="•"/>
          </a:pPr>
          <a:r>
            <a:rPr lang="en-US" sz="1100" kern="1200" dirty="0">
              <a:latin typeface="Aptos"/>
            </a:rPr>
            <a:t>Advanced Engineering Systems</a:t>
          </a:r>
        </a:p>
        <a:p>
          <a:pPr marL="114300" lvl="2" indent="-57150" algn="l" defTabSz="488950">
            <a:lnSpc>
              <a:spcPct val="90000"/>
            </a:lnSpc>
            <a:spcBef>
              <a:spcPct val="0"/>
            </a:spcBef>
            <a:spcAft>
              <a:spcPct val="15000"/>
            </a:spcAft>
            <a:buChar char="•"/>
          </a:pPr>
          <a:r>
            <a:rPr lang="en-US" sz="1100" kern="1200" dirty="0">
              <a:latin typeface="Aptos"/>
            </a:rPr>
            <a:t>Robotics and Automation</a:t>
          </a:r>
        </a:p>
        <a:p>
          <a:pPr marL="114300" lvl="2" indent="-57150" algn="l" defTabSz="488950">
            <a:lnSpc>
              <a:spcPct val="90000"/>
            </a:lnSpc>
            <a:spcBef>
              <a:spcPct val="0"/>
            </a:spcBef>
            <a:spcAft>
              <a:spcPct val="15000"/>
            </a:spcAft>
            <a:buChar char="•"/>
          </a:pPr>
          <a:r>
            <a:rPr lang="en-US" sz="1100" kern="1200" dirty="0">
              <a:latin typeface="Aptos"/>
            </a:rPr>
            <a:t>Welding and Metal Fabrication</a:t>
          </a:r>
        </a:p>
        <a:p>
          <a:pPr marL="57150" lvl="1" indent="-57150" algn="l" defTabSz="488950">
            <a:lnSpc>
              <a:spcPct val="90000"/>
            </a:lnSpc>
            <a:spcBef>
              <a:spcPct val="0"/>
            </a:spcBef>
            <a:spcAft>
              <a:spcPct val="15000"/>
            </a:spcAft>
            <a:buChar char="•"/>
          </a:pPr>
          <a:r>
            <a:rPr lang="en-US" sz="1100" kern="1200" dirty="0">
              <a:latin typeface="Aptos"/>
            </a:rPr>
            <a:t>IRC Only programming – OTC+</a:t>
          </a:r>
        </a:p>
        <a:p>
          <a:pPr marL="114300" lvl="2" indent="-57150" algn="l" defTabSz="488950">
            <a:lnSpc>
              <a:spcPct val="90000"/>
            </a:lnSpc>
            <a:spcBef>
              <a:spcPct val="0"/>
            </a:spcBef>
            <a:spcAft>
              <a:spcPct val="15000"/>
            </a:spcAft>
            <a:buChar char="•"/>
          </a:pPr>
          <a:r>
            <a:rPr lang="en-US" sz="1100" kern="1200" dirty="0">
              <a:latin typeface="Aptos"/>
            </a:rPr>
            <a:t>Robotics Yaskawa Motoman Operator,  Programming</a:t>
          </a:r>
        </a:p>
      </dsp:txBody>
      <dsp:txXfrm>
        <a:off x="7494622" y="2061789"/>
        <a:ext cx="2112680" cy="2368082"/>
      </dsp:txXfrm>
    </dsp:sp>
    <dsp:sp modelId="{CDADD740-334A-4225-9B7F-F118BBDA2157}">
      <dsp:nvSpPr>
        <dsp:cNvPr id="0" name=""/>
        <dsp:cNvSpPr/>
      </dsp:nvSpPr>
      <dsp:spPr>
        <a:xfrm>
          <a:off x="9838657" y="1947498"/>
          <a:ext cx="2341262" cy="2596664"/>
        </a:xfrm>
        <a:prstGeom prst="roundRect">
          <a:avLst/>
        </a:prstGeom>
        <a:solidFill>
          <a:schemeClr val="accent6">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latin typeface="Aptos"/>
            </a:rPr>
            <a:t>Adult</a:t>
          </a:r>
        </a:p>
        <a:p>
          <a:pPr marL="57150" lvl="1" indent="-57150" algn="l" defTabSz="488950">
            <a:lnSpc>
              <a:spcPct val="90000"/>
            </a:lnSpc>
            <a:spcBef>
              <a:spcPct val="0"/>
            </a:spcBef>
            <a:spcAft>
              <a:spcPct val="15000"/>
            </a:spcAft>
            <a:buChar char="•"/>
          </a:pPr>
          <a:r>
            <a:rPr lang="en-US" sz="1100" kern="1200" dirty="0">
              <a:latin typeface="Aptos"/>
            </a:rPr>
            <a:t>Customized Training with QQE</a:t>
          </a:r>
        </a:p>
        <a:p>
          <a:pPr marL="114300" lvl="2" indent="-57150" algn="l" defTabSz="488950">
            <a:lnSpc>
              <a:spcPct val="90000"/>
            </a:lnSpc>
            <a:spcBef>
              <a:spcPct val="0"/>
            </a:spcBef>
            <a:spcAft>
              <a:spcPct val="15000"/>
            </a:spcAft>
            <a:buChar char="•"/>
          </a:pPr>
          <a:r>
            <a:rPr lang="en-US" sz="1100" kern="1200" dirty="0">
              <a:latin typeface="Aptos"/>
            </a:rPr>
            <a:t>DRMA, Clark State, SOCHE</a:t>
          </a:r>
        </a:p>
      </dsp:txBody>
      <dsp:txXfrm>
        <a:off x="9952948" y="2061789"/>
        <a:ext cx="2112680" cy="2368082"/>
      </dsp:txXfrm>
    </dsp:sp>
  </dsp:spTree>
</dsp:drawing>
</file>

<file path=ppt/diagrams/layout1.xml><?xml version="1.0" encoding="utf-8"?>
<dgm:layoutDef xmlns:dgm="http://schemas.openxmlformats.org/drawingml/2006/diagram" xmlns:a="http://schemas.openxmlformats.org/drawingml/2006/main" uniqueId="urn:microsoft.com/office/officeart/2016/7/layout/BasicTimeline">
  <dgm:title val="Basic Timeline"/>
  <dgm:desc val="Use to show a list of events in chronological order. The rounded rectangular shape contains the description while the date is shown below on the time line. It's the perfect SmartArt for displaying large amount of text with a medium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dgm:constrLst>
    <dgm:layoutNode name="divider" styleLbl="fgAccFollowNode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presOf/>
      <dgm:shape xmlns:r="http://schemas.openxmlformats.org/officeDocument/2006/relationships" r:blip="">
        <dgm:adjLst/>
      </dgm:shape>
      <dgm:choose name="constrBasedOnChildrenCount">
        <dgm:if name="constrForTwoChildren" axis="ch" ptType="node" func="cnt" op="lte" val="2">
          <dgm:constrLst>
            <dgm:constr type="primFontSz" for="des" forName="L1TextContainer" val="20"/>
            <dgm:constr type="primFontSz" for="des" forName="L2TextContainer" refType="primFontSz" refFor="des" refForName="L1TextContainer" op="equ" fact="0.85"/>
            <dgm:constr type="w" for="ch" forName="composite" refType="w"/>
            <dgm:constr type="h" for="ch" forName="composite" refType="h"/>
            <dgm:constr type="w" for="ch" forName="spaceBetweenRectangles" refType="w" refFor="ch" refForName="composite" fact="0.16"/>
            <dgm:constr type="w" for="ch" ptType="sibTrans" op="equ"/>
            <dgm:constr type="primFontSz" for="des" forName="L1TextContainer" op="equ"/>
            <dgm:constr type="primFontSz" for="des" forName="L2TextContainer" op="equ"/>
          </dgm:constrLst>
        </dgm:if>
        <dgm:else name="constrForRest">
          <dgm:constrLst>
            <dgm:constr type="primFontSz" for="des" forName="L1TextContainer" val="20"/>
            <dgm:constr type="primFontSz" for="des" forName="L2TextContainer" refType="primFontSz" refFor="des" refForName="L1TextContainer" op="equ" fact="0.85"/>
            <dgm:constr type="w" for="ch" forName="composite" refType="w"/>
            <dgm:constr type="h" for="ch" forName="composite" refType="h"/>
            <dgm:constr type="w" for="ch" forName="spaceBetweenRectangles" refType="w" refFor="ch" refForName="composite" fact="-0.42"/>
            <dgm:constr type="w" for="ch" ptType="sibTrans" op="equ"/>
            <dgm:constr type="primFontSz" for="des" forName="L1TextContainer" op="equ"/>
            <dgm:constr type="primFontSz" for="des" forName="L2TextContainer" op="equ"/>
          </dgm:constrLst>
        </dgm:else>
      </dgm:choose>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1TextContainer" refType="w" fact="0.88"/>
                <dgm:constr type="l" for="ch" forName="L1TextContainer" refType="w" fact="0.06"/>
                <dgm:constr type="t" for="ch" forName="L1TextContainer" refType="h" fact="0.537"/>
                <dgm:constr type="h" for="ch" forName="L1TextContainer" refType="h" fact="0.113"/>
                <dgm:constr type="w" for="ch" forName="L2TextContainerWrapper" refType="w"/>
                <dgm:constr type="h" for="ch" forName="L2TextContainerWrapper" refType="h" fact="0.31"/>
                <dgm:constr type="b" for="ch" forName="L2TextContainerWrapper" refType="h" fact="0.31"/>
                <dgm:constr type="w" for="ch" forName="ConnectLine"/>
                <dgm:constr type="l" for="ch" forName="ConnectLine" refType="w" fact="0.5"/>
                <dgm:constr type="h" for="ch" forName="ConnectLine" refType="h" fact="0.19"/>
                <dgm:constr type="t" for="ch" forName="ConnectLine" refType="h" fact="0.31"/>
                <dgm:constr type="w" for="ch" forName="ConnectorPoint" refType="h" fact="0.015"/>
                <dgm:constr type="h" for="ch" forName="ConnectorPoint" refType="h" fact="0.015"/>
                <dgm:constr type="ctrX" for="ch" forName="ConnectorPoint" refType="w" fact="0.5"/>
                <dgm:constr type="ctrY" for="ch" forName="ConnectorPoint" refType="h" fact="0.5"/>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L1TextContainer" refType="w" fact="0.88"/>
                <dgm:constr type="l" for="ch" forName="L1TextContainer" refType="w" fact="0.06"/>
                <dgm:constr type="t" for="ch" forName="L1TextContainer" refType="h" fact="0.35"/>
                <dgm:constr type="h" for="ch" forName="L1TextContainer" refType="h" fact="0.113"/>
                <dgm:constr type="w" for="ch" forName="L2TextContainerWrapper" refType="w"/>
                <dgm:constr type="h" for="ch" forName="L2TextContainerWrapper" refType="h" fact="0.31"/>
                <dgm:constr type="t" for="ch" forName="L2TextContainerWrapper" refType="h" fact="0.69"/>
                <dgm:constr type="w" for="ch" forName="ConnectLine"/>
                <dgm:constr type="l" for="ch" forName="ConnectLine" refType="w" fact="0.5"/>
                <dgm:constr type="h" for="ch" forName="ConnectLine" refType="h" fact="0.19"/>
                <dgm:constr type="t" for="ch" forName="ConnectLine" refType="h" fact="0.5"/>
                <dgm:constr type="w" for="ch" forName="ConnectorPoint" refType="h" fact="0.015"/>
                <dgm:constr type="h" for="ch" forName="ConnectorPoint" refType="h" fact="0.015"/>
                <dgm:constr type="ctrX" for="ch" forName="ConnectorPoint" refType="w" fact="0.5"/>
                <dgm:constr type="ctrY" for="ch" forName="ConnectorPoint" refType="h" fact="0.5"/>
                <dgm:constr type="w" for="ch" forName="EmptyPlaceHolder" refType="w"/>
                <dgm:constr type="h" for="ch" forName="EmptyPlaceHolder" refType="h" fact="0.35"/>
                <dgm:constr type="t" for="ch" forName="EmptyPlaceHolder" refType="h" fact="0"/>
              </dgm:constrLst>
            </dgm:else>
          </dgm:choos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LTRAlign" val="ctr"/>
                  <dgm:param type="parTxRTLAlign" val="ctr"/>
                </dgm:alg>
              </dgm:if>
              <dgm:else name="Name89">
                <dgm:alg type="tx">
                  <dgm:param type="txAnchorHorz" val="ctr"/>
                  <dgm:param type="txAnchorVert" val="b"/>
                  <dgm:param type="parTxLTR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L2TextContainerWrapper">
            <dgm:varLst>
              <dgm:chMax val="0"/>
              <dgm:chPref val="0"/>
              <dgm:bulletEnabled val="1"/>
            </dgm:varLst>
            <dgm:alg type="composite"/>
            <dgm:choose name="L2TextContainerConstr">
              <dgm:if name="CaseForPlacingL2TextContaineAboveDivider" axis="self" ptType="node" func="posOdd" op="equ" val="1">
                <dgm:constrLst>
                  <dgm:constr type="h" for="ch" forName="L2TextContainer" refType="h" fact="0.55"/>
                  <dgm:constr type="b" for="ch" forName="L2TextContainer" refType="h"/>
                  <dgm:constr type="h" for="ch" forName="FlexibleEmptyPlaceHolder" refType="h" fact="0.45"/>
                </dgm:constrLst>
              </dgm:if>
              <dgm:else name="CaseForPlacingL2TextContaineBelowDivider">
                <dgm:constrLst>
                  <dgm:constr type="h" for="ch" forName="L2TextContainer" refType="h" fact="0.55"/>
                  <dgm:constr type="h" for="ch" forName="FlexibleEmptyPlaceHolder" refType="h" fact="0.45"/>
                  <dgm:constr type="b" for="ch" forName="FlexibleEmptyPlaceHolder" refType="h"/>
                </dgm:constrLst>
              </dgm:else>
            </dgm:choose>
            <dgm:layoutNode name="L2TextContainer" styleLbl="bgAcc1">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oundRect" r:blip="">
                <dgm:adjLst/>
              </dgm:shape>
              <dgm:presOf axis="des" ptType="node"/>
              <dgm:constrLst>
                <dgm:constr type="primFontSz" val="17"/>
                <dgm:constr type="lMarg" refType="primFontSz" fact="0.7"/>
                <dgm:constr type="rMarg" refType="primFontSz" fact="0.7"/>
                <dgm:constr type="tMarg" refType="primFontSz" fact="0.7"/>
                <dgm:constr type="bMarg" refType="primFontSz" fact="0.7"/>
              </dgm:constrLst>
              <dgm:ruleLst>
                <dgm:rule type="primFontSz" val="12" fact="NaN" max="NaN"/>
                <dgm:rule type="secFontSz" val="10" fact="NaN" max="NaN"/>
                <dgm:rule type="h" val="INF" fact="NaN" max="NaN"/>
              </dgm:ruleLst>
            </dgm:layoutNode>
            <dgm:layoutNode name="FlexibleEmptyPlaceHolder">
              <dgm:alg type="sp"/>
              <dgm:shape xmlns:r="http://schemas.openxmlformats.org/officeDocument/2006/relationships" r:blip="">
                <dgm:adjLst/>
              </dgm:shape>
              <dgm:presOf/>
              <dgm:constrLst/>
            </dgm:layoutNode>
          </dgm:layoutNode>
          <dgm:layoutNode name="ConnectLine" styleLbl="sibTrans1D1" moveWith="L2TextContainer">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orPoint" styleLbl="alignNode1" moveWith="L2TextContainer">
            <dgm:alg type="sp"/>
            <dgm:shape xmlns:r="http://schemas.openxmlformats.org/officeDocument/2006/relationships" type="ellipse" r:blip="" zOrderOff="1">
              <dgm:adj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extLst>
    <a:ext uri="{68A01E43-0DF5-4B5B-8FA6-DAF915123BFB}">
      <dgm1612:lstStyle xmlns:dgm1612="http://schemas.microsoft.com/office/drawing/2016/12/diagram">
        <a:lvl1pPr>
          <a:defRPr b="1"/>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5931EA-CA76-43B6-8D18-26ED6AF72D35}" type="datetimeFigureOut">
              <a:rPr lang="en-US" smtClean="0"/>
              <a:t>5/2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F79A3F-AF06-45BF-B567-58C5FCAED328}" type="slidenum">
              <a:rPr lang="en-US" smtClean="0"/>
              <a:t>‹#›</a:t>
            </a:fld>
            <a:endParaRPr lang="en-US"/>
          </a:p>
        </p:txBody>
      </p:sp>
    </p:spTree>
    <p:extLst>
      <p:ext uri="{BB962C8B-B14F-4D97-AF65-F5344CB8AC3E}">
        <p14:creationId xmlns:p14="http://schemas.microsoft.com/office/powerpoint/2010/main" val="3556334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79A3F-AF06-45BF-B567-58C5FCAED328}" type="slidenum">
              <a:rPr lang="en-US" smtClean="0"/>
              <a:t>4</a:t>
            </a:fld>
            <a:endParaRPr lang="en-US"/>
          </a:p>
        </p:txBody>
      </p:sp>
    </p:spTree>
    <p:extLst>
      <p:ext uri="{BB962C8B-B14F-4D97-AF65-F5344CB8AC3E}">
        <p14:creationId xmlns:p14="http://schemas.microsoft.com/office/powerpoint/2010/main" val="3034952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79A3F-AF06-45BF-B567-58C5FCAED328}" type="slidenum">
              <a:rPr lang="en-US" smtClean="0"/>
              <a:t>5</a:t>
            </a:fld>
            <a:endParaRPr lang="en-US"/>
          </a:p>
        </p:txBody>
      </p:sp>
    </p:spTree>
    <p:extLst>
      <p:ext uri="{BB962C8B-B14F-4D97-AF65-F5344CB8AC3E}">
        <p14:creationId xmlns:p14="http://schemas.microsoft.com/office/powerpoint/2010/main" val="3177191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linkedin.com/company/ohio-technet/?viewAsMember=true</a:t>
            </a:r>
          </a:p>
        </p:txBody>
      </p:sp>
      <p:sp>
        <p:nvSpPr>
          <p:cNvPr id="4" name="Slide Number Placeholder 3"/>
          <p:cNvSpPr>
            <a:spLocks noGrp="1"/>
          </p:cNvSpPr>
          <p:nvPr>
            <p:ph type="sldNum" sz="quarter" idx="5"/>
          </p:nvPr>
        </p:nvSpPr>
        <p:spPr/>
        <p:txBody>
          <a:bodyPr/>
          <a:lstStyle/>
          <a:p>
            <a:fld id="{32F79A3F-AF06-45BF-B567-58C5FCAED328}" type="slidenum">
              <a:rPr lang="en-US" smtClean="0"/>
              <a:t>6</a:t>
            </a:fld>
            <a:endParaRPr lang="en-US"/>
          </a:p>
        </p:txBody>
      </p:sp>
    </p:spTree>
    <p:extLst>
      <p:ext uri="{BB962C8B-B14F-4D97-AF65-F5344CB8AC3E}">
        <p14:creationId xmlns:p14="http://schemas.microsoft.com/office/powerpoint/2010/main" val="3430890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he SEMI Foundation is the Coordination Hub for the National Network for Microelectronics Education (NNME). </a:t>
            </a:r>
            <a:r>
              <a:rPr lang="en-US"/>
              <a:t>The NNME is an initiative to train the future semiconductor workforce, encompassing all levels of education and industry roles, through the Hub and regional nodes. The NNME aims to address the anticipated shortage of skilled workers in the microelectronics industry by creating a coordinated national network for education and workforce development. </a:t>
            </a:r>
          </a:p>
          <a:p>
            <a:endParaRPr lang="en-US">
              <a:ea typeface="Calibri"/>
              <a:cs typeface="Calibri"/>
            </a:endParaRPr>
          </a:p>
          <a:p>
            <a:r>
              <a:rPr lang="en-US"/>
              <a:t>As the Hub, the SEMI Foundation will oversee regional nodes and connect with other national semiconductor WFD programs and investments to offer curricula, instructional materials, industry awareness and outreach, and experiential opportunities to students and jobseekers across the U.S. The NNME will focus on developing a skilled microelectronics workforce, ensuring that education and training align with industry needs. </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C77A2A-AE23-4F63-ADD7-A88BC0A9A6B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9043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he NNME will have three primary areas of focus: developing, modernizing, updating, and making accessible semiconductor curriculum and training opportunities; generating industry awareness for all Americans; and supporting a national network to reduce duplicative efforts and weave together semiconductor educational resour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19691A-B99C-4895-974B-D7DAE8286A6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8797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1B9D5E-F009-8BB1-60AB-184E3A6A28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42AA74-C2E4-A8C0-A3E5-C617230870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0F05FA-D151-D473-16AC-C3C9D0AA4A3A}"/>
              </a:ext>
            </a:extLst>
          </p:cNvPr>
          <p:cNvSpPr>
            <a:spLocks noGrp="1"/>
          </p:cNvSpPr>
          <p:nvPr>
            <p:ph type="body" idx="1"/>
          </p:nvPr>
        </p:nvSpPr>
        <p:spPr/>
        <p:txBody>
          <a:bodyPr/>
          <a:lstStyle/>
          <a:p>
            <a:r>
              <a:rPr lang="en-US" dirty="0">
                <a:ea typeface="Calibri"/>
                <a:cs typeface="Calibri"/>
              </a:rPr>
              <a:t>As the Hub of the National Network for Microelectronics Education, the SEMI Foundation will be coordinating three major efforts: the development and management of Regional Nodes across the country who will coordinate and collaborate to update and modernize curriculum and provide industry/career outreach; the creation of a digital hub for curriculum that will reduce duplicative efforts and disseminate content; and a major national industry awareness campaign</a:t>
            </a:r>
          </a:p>
          <a:p>
            <a:endParaRPr lang="en-US" dirty="0">
              <a:ea typeface="Calibri"/>
              <a:cs typeface="Calibri"/>
            </a:endParaRPr>
          </a:p>
          <a:p>
            <a:r>
              <a:rPr lang="en-US" dirty="0">
                <a:ea typeface="Calibri"/>
                <a:cs typeface="Calibri"/>
              </a:rPr>
              <a:t>SEMI members will be important partners in the Regional Nodes to ensure that all training/curriculum maps to employer needs</a:t>
            </a:r>
          </a:p>
        </p:txBody>
      </p:sp>
      <p:sp>
        <p:nvSpPr>
          <p:cNvPr id="4" name="Slide Number Placeholder 3">
            <a:extLst>
              <a:ext uri="{FF2B5EF4-FFF2-40B4-BE49-F238E27FC236}">
                <a16:creationId xmlns:a16="http://schemas.microsoft.com/office/drawing/2014/main" id="{15EC14D1-ACDA-FB05-C47D-4F7F47E9E65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19691A-B99C-4895-974B-D7DAE8286A6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10112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697928-E3D2-24AF-5375-C44C3923A0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49C262-8F40-82C1-BACA-586AD42D24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7EDDC5-6A68-094A-63F5-AA51772E0C6C}"/>
              </a:ext>
            </a:extLst>
          </p:cNvPr>
          <p:cNvSpPr>
            <a:spLocks noGrp="1"/>
          </p:cNvSpPr>
          <p:nvPr>
            <p:ph type="body" idx="1"/>
          </p:nvPr>
        </p:nvSpPr>
        <p:spPr/>
        <p:txBody>
          <a:bodyPr/>
          <a:lstStyle/>
          <a:p>
            <a:r>
              <a:rPr lang="en-US">
                <a:ea typeface="Calibri"/>
                <a:cs typeface="Calibri"/>
              </a:rPr>
              <a:t>The SEMI Foundation is currently working with four </a:t>
            </a:r>
            <a:r>
              <a:rPr lang="en-US" err="1">
                <a:ea typeface="Calibri"/>
                <a:cs typeface="Calibri"/>
              </a:rPr>
              <a:t>subawardees</a:t>
            </a:r>
            <a:r>
              <a:rPr lang="en-US">
                <a:ea typeface="Calibri"/>
                <a:cs typeface="Calibri"/>
              </a:rPr>
              <a:t>: JFF, MNT-EC, IEC, and HBCU CHIPS Network to support the launch and design of the NNME and the process for choosing Regional Nodes. The NNME will also collaborate closely with the </a:t>
            </a:r>
            <a:r>
              <a:rPr lang="en-US" err="1">
                <a:ea typeface="Calibri"/>
                <a:cs typeface="Calibri"/>
              </a:rPr>
              <a:t>WCoE</a:t>
            </a:r>
            <a:r>
              <a:rPr lang="en-US">
                <a:ea typeface="Calibri"/>
                <a:cs typeface="Calibri"/>
              </a:rPr>
              <a:t>, ME Commons, </a:t>
            </a:r>
            <a:r>
              <a:rPr lang="en-US" err="1">
                <a:ea typeface="Calibri"/>
                <a:cs typeface="Calibri"/>
              </a:rPr>
              <a:t>SmartUSA</a:t>
            </a:r>
            <a:r>
              <a:rPr lang="en-US">
                <a:ea typeface="Calibri"/>
                <a:cs typeface="Calibri"/>
              </a:rPr>
              <a:t>, and other federal programs to ensure the NNME is leveraging broad thought partnership for its launch and operations, to ensure efforts are not duplicated, and to make NNME resources as widely available as possible.</a:t>
            </a:r>
          </a:p>
        </p:txBody>
      </p:sp>
      <p:sp>
        <p:nvSpPr>
          <p:cNvPr id="4" name="Slide Number Placeholder 3">
            <a:extLst>
              <a:ext uri="{FF2B5EF4-FFF2-40B4-BE49-F238E27FC236}">
                <a16:creationId xmlns:a16="http://schemas.microsoft.com/office/drawing/2014/main" id="{4F6D639E-1D98-DFF3-CA28-C94E209427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19691A-B99C-4895-974B-D7DAE8286A6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6511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CB937-B6F9-1274-4B05-B13D25C0AF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DF481D-6114-17AE-3ABD-038FBC03E4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07812D-C5C4-2E55-0D68-9605859A05F5}"/>
              </a:ext>
            </a:extLst>
          </p:cNvPr>
          <p:cNvSpPr>
            <a:spLocks noGrp="1"/>
          </p:cNvSpPr>
          <p:nvPr>
            <p:ph type="body" idx="1"/>
          </p:nvPr>
        </p:nvSpPr>
        <p:spPr/>
        <p:txBody>
          <a:bodyPr/>
          <a:lstStyle/>
          <a:p>
            <a:r>
              <a:rPr lang="en-US">
                <a:ea typeface="Calibri"/>
                <a:cs typeface="Calibri"/>
              </a:rPr>
              <a:t>General timeline of Year One. We expect to establish at least four regional nodes in Year One and to hold the second round of node applications for the final set of Nodes in Q1 or Q2 of Year Two.</a:t>
            </a:r>
          </a:p>
        </p:txBody>
      </p:sp>
      <p:sp>
        <p:nvSpPr>
          <p:cNvPr id="4" name="Slide Number Placeholder 3">
            <a:extLst>
              <a:ext uri="{FF2B5EF4-FFF2-40B4-BE49-F238E27FC236}">
                <a16:creationId xmlns:a16="http://schemas.microsoft.com/office/drawing/2014/main" id="{318E11CF-67BD-42F8-443E-5D9C009DCB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19691A-B99C-4895-974B-D7DAE8286A6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2597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1D727-79F2-5688-330A-B02D611E06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FE8284-5761-0E57-BEF5-2E50653CAD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F0DF00-39E2-D08C-EFA3-9FEAC23C5699}"/>
              </a:ext>
            </a:extLst>
          </p:cNvPr>
          <p:cNvSpPr>
            <a:spLocks noGrp="1"/>
          </p:cNvSpPr>
          <p:nvPr>
            <p:ph type="body" idx="1"/>
          </p:nvPr>
        </p:nvSpPr>
        <p:spPr/>
        <p:txBody>
          <a:bodyPr/>
          <a:lstStyle/>
          <a:p>
            <a:endParaRPr lang="en-US">
              <a:ea typeface="Calibri"/>
              <a:cs typeface="Calibri"/>
            </a:endParaRPr>
          </a:p>
          <a:p>
            <a:r>
              <a:rPr lang="en-US">
                <a:ea typeface="Calibri"/>
                <a:cs typeface="Calibri"/>
              </a:rPr>
              <a:t>  </a:t>
            </a:r>
          </a:p>
          <a:p>
            <a:r>
              <a:rPr lang="en-US">
                <a:ea typeface="Calibri"/>
                <a:cs typeface="Calibri"/>
              </a:rPr>
              <a:t> </a:t>
            </a:r>
          </a:p>
        </p:txBody>
      </p:sp>
      <p:sp>
        <p:nvSpPr>
          <p:cNvPr id="4" name="Slide Number Placeholder 3">
            <a:extLst>
              <a:ext uri="{FF2B5EF4-FFF2-40B4-BE49-F238E27FC236}">
                <a16:creationId xmlns:a16="http://schemas.microsoft.com/office/drawing/2014/main" id="{282442C7-5332-4BE6-9463-95D729234A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19691A-B99C-4895-974B-D7DAE8286A6A}"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82921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tif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C3DC6-9824-46BE-B311-6DCE98C657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626F937-1815-4896-BCDA-FD4FDDEDCC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B6C67DE-93BB-4E2D-9411-36C367959EB2}"/>
              </a:ext>
            </a:extLst>
          </p:cNvPr>
          <p:cNvSpPr>
            <a:spLocks noGrp="1"/>
          </p:cNvSpPr>
          <p:nvPr>
            <p:ph type="dt" sz="half" idx="10"/>
          </p:nvPr>
        </p:nvSpPr>
        <p:spPr/>
        <p:txBody>
          <a:bodyPr/>
          <a:lstStyle/>
          <a:p>
            <a:fld id="{F0859A3C-EBFF-4099-9677-45671682F433}" type="datetimeFigureOut">
              <a:rPr lang="en-US" smtClean="0"/>
              <a:t>5/20/2025</a:t>
            </a:fld>
            <a:endParaRPr lang="en-US"/>
          </a:p>
        </p:txBody>
      </p:sp>
      <p:sp>
        <p:nvSpPr>
          <p:cNvPr id="5" name="Footer Placeholder 4">
            <a:extLst>
              <a:ext uri="{FF2B5EF4-FFF2-40B4-BE49-F238E27FC236}">
                <a16:creationId xmlns:a16="http://schemas.microsoft.com/office/drawing/2014/main" id="{451D6481-4DF2-4399-BECF-3AD6A31120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21FD6C-F5DC-45FB-B3C3-4172F6673F4E}"/>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4495364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F90A5-F9FA-4C26-BCDE-017542D6EE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D68854F-DAA5-4003-B907-4AB3909AEC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4D976F-D4C1-4283-9177-051BA840B82D}"/>
              </a:ext>
            </a:extLst>
          </p:cNvPr>
          <p:cNvSpPr>
            <a:spLocks noGrp="1"/>
          </p:cNvSpPr>
          <p:nvPr>
            <p:ph type="dt" sz="half" idx="10"/>
          </p:nvPr>
        </p:nvSpPr>
        <p:spPr/>
        <p:txBody>
          <a:bodyPr/>
          <a:lstStyle/>
          <a:p>
            <a:fld id="{F0859A3C-EBFF-4099-9677-45671682F433}" type="datetimeFigureOut">
              <a:rPr lang="en-US" smtClean="0"/>
              <a:t>5/20/2025</a:t>
            </a:fld>
            <a:endParaRPr lang="en-US"/>
          </a:p>
        </p:txBody>
      </p:sp>
      <p:sp>
        <p:nvSpPr>
          <p:cNvPr id="5" name="Footer Placeholder 4">
            <a:extLst>
              <a:ext uri="{FF2B5EF4-FFF2-40B4-BE49-F238E27FC236}">
                <a16:creationId xmlns:a16="http://schemas.microsoft.com/office/drawing/2014/main" id="{B842D817-C4E7-4518-94FC-F5DC0A9B54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0A0D71-66A5-4B60-8483-FD6C951BD512}"/>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38429021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FB8824-D6BB-4B32-8B75-76D00EC083E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B28C2AF-8D21-4999-9B87-1178C7E11E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7840FA-6C1F-498E-AB0A-984D262CDD11}"/>
              </a:ext>
            </a:extLst>
          </p:cNvPr>
          <p:cNvSpPr>
            <a:spLocks noGrp="1"/>
          </p:cNvSpPr>
          <p:nvPr>
            <p:ph type="dt" sz="half" idx="10"/>
          </p:nvPr>
        </p:nvSpPr>
        <p:spPr/>
        <p:txBody>
          <a:bodyPr/>
          <a:lstStyle/>
          <a:p>
            <a:fld id="{F0859A3C-EBFF-4099-9677-45671682F433}" type="datetimeFigureOut">
              <a:rPr lang="en-US" smtClean="0"/>
              <a:t>5/20/2025</a:t>
            </a:fld>
            <a:endParaRPr lang="en-US"/>
          </a:p>
        </p:txBody>
      </p:sp>
      <p:sp>
        <p:nvSpPr>
          <p:cNvPr id="5" name="Footer Placeholder 4">
            <a:extLst>
              <a:ext uri="{FF2B5EF4-FFF2-40B4-BE49-F238E27FC236}">
                <a16:creationId xmlns:a16="http://schemas.microsoft.com/office/drawing/2014/main" id="{A60BE0F4-9563-4BA8-B2BB-47D4C6EE78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3495F8-0ABC-4CF1-BEFE-C0E90233C528}"/>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3940122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descr="A close-up of a keyboard&#10;&#10;Description automatically generated with low confidence">
            <a:extLst>
              <a:ext uri="{FF2B5EF4-FFF2-40B4-BE49-F238E27FC236}">
                <a16:creationId xmlns:a16="http://schemas.microsoft.com/office/drawing/2014/main" id="{9D588B68-7997-3DEF-3953-2D612EF399D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877" y="-1"/>
            <a:ext cx="2397006" cy="6858001"/>
          </a:xfrm>
          <a:prstGeom prst="rect">
            <a:avLst/>
          </a:prstGeom>
        </p:spPr>
      </p:pic>
      <p:sp>
        <p:nvSpPr>
          <p:cNvPr id="8" name="Rectangle 7">
            <a:extLst>
              <a:ext uri="{FF2B5EF4-FFF2-40B4-BE49-F238E27FC236}">
                <a16:creationId xmlns:a16="http://schemas.microsoft.com/office/drawing/2014/main" id="{D7265796-FD9A-D2CE-8F5C-655E766430B8}"/>
              </a:ext>
            </a:extLst>
          </p:cNvPr>
          <p:cNvSpPr/>
          <p:nvPr/>
        </p:nvSpPr>
        <p:spPr>
          <a:xfrm>
            <a:off x="5640946" y="42247"/>
            <a:ext cx="6551054" cy="8255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3008092-9AB5-C03D-719C-CB9465976135}"/>
              </a:ext>
            </a:extLst>
          </p:cNvPr>
          <p:cNvSpPr/>
          <p:nvPr/>
        </p:nvSpPr>
        <p:spPr>
          <a:xfrm rot="5400000" flipH="1">
            <a:off x="-161074" y="5375607"/>
            <a:ext cx="1643467" cy="1321319"/>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E76BAC9C-CC20-BB3C-1F10-30418F8365CB}"/>
              </a:ext>
            </a:extLst>
          </p:cNvPr>
          <p:cNvSpPr>
            <a:spLocks noGrp="1"/>
          </p:cNvSpPr>
          <p:nvPr>
            <p:ph type="subTitle" idx="1"/>
          </p:nvPr>
        </p:nvSpPr>
        <p:spPr>
          <a:xfrm>
            <a:off x="3010829" y="4930093"/>
            <a:ext cx="8872654"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25EC92A2-47C5-1804-10EC-926AF4A8412A}"/>
              </a:ext>
            </a:extLst>
          </p:cNvPr>
          <p:cNvSpPr>
            <a:spLocks noGrp="1"/>
          </p:cNvSpPr>
          <p:nvPr>
            <p:ph type="dt" sz="half" idx="10"/>
          </p:nvPr>
        </p:nvSpPr>
        <p:spPr>
          <a:xfrm>
            <a:off x="1652016" y="6356350"/>
            <a:ext cx="2743200" cy="365125"/>
          </a:xfrm>
        </p:spPr>
        <p:txBody>
          <a:bodyPr/>
          <a:lstStyle/>
          <a:p>
            <a:endParaRPr lang="en-US" dirty="0"/>
          </a:p>
        </p:txBody>
      </p:sp>
      <p:sp>
        <p:nvSpPr>
          <p:cNvPr id="5" name="Footer Placeholder 4">
            <a:extLst>
              <a:ext uri="{FF2B5EF4-FFF2-40B4-BE49-F238E27FC236}">
                <a16:creationId xmlns:a16="http://schemas.microsoft.com/office/drawing/2014/main" id="{EA3301CE-A5AE-BE00-EB23-44896D7F55B7}"/>
              </a:ext>
            </a:extLst>
          </p:cNvPr>
          <p:cNvSpPr>
            <a:spLocks noGrp="1"/>
          </p:cNvSpPr>
          <p:nvPr>
            <p:ph type="ftr" sz="quarter" idx="11"/>
          </p:nvPr>
        </p:nvSpPr>
        <p:spPr>
          <a:xfrm>
            <a:off x="4395216" y="6356350"/>
            <a:ext cx="5029200" cy="365125"/>
          </a:xfrm>
        </p:spPr>
        <p:txBody>
          <a:bodyPr/>
          <a:lstStyle>
            <a:lvl1pPr>
              <a:defRPr sz="900"/>
            </a:lvl1pPr>
          </a:lstStyle>
          <a:p>
            <a:r>
              <a:rPr lang="en-US"/>
              <a:t>MMEC Proprietary  </a:t>
            </a:r>
            <a:endParaRPr lang="en-US" dirty="0"/>
          </a:p>
        </p:txBody>
      </p:sp>
      <p:sp>
        <p:nvSpPr>
          <p:cNvPr id="6" name="Slide Number Placeholder 5">
            <a:extLst>
              <a:ext uri="{FF2B5EF4-FFF2-40B4-BE49-F238E27FC236}">
                <a16:creationId xmlns:a16="http://schemas.microsoft.com/office/drawing/2014/main" id="{7977F72F-12AC-12A6-95A2-23AD16908B0B}"/>
              </a:ext>
            </a:extLst>
          </p:cNvPr>
          <p:cNvSpPr>
            <a:spLocks noGrp="1"/>
          </p:cNvSpPr>
          <p:nvPr>
            <p:ph type="sldNum" sz="quarter" idx="12"/>
          </p:nvPr>
        </p:nvSpPr>
        <p:spPr>
          <a:xfrm>
            <a:off x="9424416" y="6356350"/>
            <a:ext cx="2743200" cy="365125"/>
          </a:xfrm>
        </p:spPr>
        <p:txBody>
          <a:bodyPr/>
          <a:lstStyle/>
          <a:p>
            <a:fld id="{47A9008A-481B-4F65-A514-1AA65EA0FD53}" type="slidenum">
              <a:rPr lang="en-US" smtClean="0"/>
              <a:pPr/>
              <a:t>‹#›</a:t>
            </a:fld>
            <a:endParaRPr lang="en-US" dirty="0"/>
          </a:p>
        </p:txBody>
      </p:sp>
      <p:pic>
        <p:nvPicPr>
          <p:cNvPr id="15" name="Picture 14">
            <a:extLst>
              <a:ext uri="{FF2B5EF4-FFF2-40B4-BE49-F238E27FC236}">
                <a16:creationId xmlns:a16="http://schemas.microsoft.com/office/drawing/2014/main" id="{D486AAF7-4D42-0E0F-AE46-734B30E987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2927798" y="0"/>
            <a:ext cx="9252326" cy="594264"/>
          </a:xfrm>
          <a:prstGeom prst="rect">
            <a:avLst/>
          </a:prstGeom>
        </p:spPr>
      </p:pic>
      <p:sp>
        <p:nvSpPr>
          <p:cNvPr id="2" name="Title 1">
            <a:extLst>
              <a:ext uri="{FF2B5EF4-FFF2-40B4-BE49-F238E27FC236}">
                <a16:creationId xmlns:a16="http://schemas.microsoft.com/office/drawing/2014/main" id="{02E911F9-7D8C-D924-1167-1D0C9ECF82F7}"/>
              </a:ext>
            </a:extLst>
          </p:cNvPr>
          <p:cNvSpPr>
            <a:spLocks noGrp="1"/>
          </p:cNvSpPr>
          <p:nvPr>
            <p:ph type="ctrTitle"/>
          </p:nvPr>
        </p:nvSpPr>
        <p:spPr>
          <a:xfrm>
            <a:off x="3010829" y="2450418"/>
            <a:ext cx="8872654" cy="2387600"/>
          </a:xfrm>
        </p:spPr>
        <p:txBody>
          <a:bodyPr anchor="b"/>
          <a:lstStyle>
            <a:lvl1pPr algn="l">
              <a:defRPr sz="6000">
                <a:solidFill>
                  <a:schemeClr val="tx1"/>
                </a:solidFill>
              </a:defRPr>
            </a:lvl1pPr>
          </a:lstStyle>
          <a:p>
            <a:r>
              <a:rPr lang="en-US"/>
              <a:t>Click to edit Master title style</a:t>
            </a:r>
            <a:endParaRPr lang="en-US" dirty="0"/>
          </a:p>
        </p:txBody>
      </p:sp>
      <p:pic>
        <p:nvPicPr>
          <p:cNvPr id="11" name="Picture 10" descr="A picture containing text, outdoor, sign, clipart&#10;&#10;Description automatically generated">
            <a:extLst>
              <a:ext uri="{FF2B5EF4-FFF2-40B4-BE49-F238E27FC236}">
                <a16:creationId xmlns:a16="http://schemas.microsoft.com/office/drawing/2014/main" id="{67B3A3B4-77DC-6F25-D3CE-3020EC43FAF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153953" y="847547"/>
            <a:ext cx="5278846" cy="1466346"/>
          </a:xfrm>
          <a:prstGeom prst="rect">
            <a:avLst/>
          </a:prstGeom>
        </p:spPr>
      </p:pic>
    </p:spTree>
    <p:extLst>
      <p:ext uri="{BB962C8B-B14F-4D97-AF65-F5344CB8AC3E}">
        <p14:creationId xmlns:p14="http://schemas.microsoft.com/office/powerpoint/2010/main" val="735871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9ADAE-BB60-4401-8BFB-AEDC12DF94F7}"/>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D66351A1-3EF6-8980-C4D7-5246E6C3A38C}"/>
              </a:ext>
            </a:extLst>
          </p:cNvPr>
          <p:cNvSpPr>
            <a:spLocks noGrp="1"/>
          </p:cNvSpPr>
          <p:nvPr>
            <p:ph idx="1"/>
          </p:nvPr>
        </p:nvSpPr>
        <p:spPr/>
        <p:txBody>
          <a:bodyPr/>
          <a:lstStyle>
            <a:lvl1pPr>
              <a:defRPr>
                <a:solidFill>
                  <a:srgbClr val="0C909D"/>
                </a:solidFill>
                <a:latin typeface="Avenir Book" panose="02000503020000020003" pitchFamily="2" charset="0"/>
              </a:defRPr>
            </a:lvl1pPr>
            <a:lvl2pPr>
              <a:defRPr>
                <a:solidFill>
                  <a:srgbClr val="0C909D"/>
                </a:solidFill>
                <a:latin typeface="Avenir Book" panose="02000503020000020003" pitchFamily="2" charset="0"/>
              </a:defRPr>
            </a:lvl2pPr>
            <a:lvl3pPr>
              <a:defRPr>
                <a:solidFill>
                  <a:srgbClr val="0C909D"/>
                </a:solidFill>
                <a:latin typeface="Avenir Book" panose="02000503020000020003" pitchFamily="2" charset="0"/>
              </a:defRPr>
            </a:lvl3pPr>
            <a:lvl4pPr>
              <a:defRPr>
                <a:solidFill>
                  <a:srgbClr val="0C909D"/>
                </a:solidFill>
                <a:latin typeface="Avenir Book" panose="02000503020000020003" pitchFamily="2" charset="0"/>
              </a:defRPr>
            </a:lvl4pPr>
            <a:lvl5pPr>
              <a:defRPr>
                <a:solidFill>
                  <a:srgbClr val="0C909D"/>
                </a:solidFill>
                <a:latin typeface="Avenir Book"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8CE135D-8983-455B-6984-6957300D077F}"/>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E4FD2C07-4B3E-6B7D-F2DD-10F78D732FC0}"/>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6" name="Slide Number Placeholder 5">
            <a:extLst>
              <a:ext uri="{FF2B5EF4-FFF2-40B4-BE49-F238E27FC236}">
                <a16:creationId xmlns:a16="http://schemas.microsoft.com/office/drawing/2014/main" id="{297552AD-D595-2891-3966-C36A74FFAC00}"/>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7" name="TextBox 6" descr="CONFIDENTIAL_TAG_0xFFEE">
            <a:extLst>
              <a:ext uri="{FF2B5EF4-FFF2-40B4-BE49-F238E27FC236}">
                <a16:creationId xmlns:a16="http://schemas.microsoft.com/office/drawing/2014/main" id="{87D1558A-8E43-27F9-5991-8804435CDF8F}"/>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1613650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DDC99-F51D-2398-C8BD-7250460D23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449BD7-3FA4-E9EC-83D9-2BB52C1BDC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2513D3-64A9-20D6-0820-B7DB1CD41A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F420E1-7EEB-8C7D-0508-9B7E47B15620}"/>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7F8DC0E1-2622-024E-247C-FC2489A9A96D}"/>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7" name="Slide Number Placeholder 6">
            <a:extLst>
              <a:ext uri="{FF2B5EF4-FFF2-40B4-BE49-F238E27FC236}">
                <a16:creationId xmlns:a16="http://schemas.microsoft.com/office/drawing/2014/main" id="{94FC3038-76B0-251B-3B37-ACF0DC328E21}"/>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8" name="TextBox 7" descr="CONFIDENTIAL_TAG_0xFFEE">
            <a:extLst>
              <a:ext uri="{FF2B5EF4-FFF2-40B4-BE49-F238E27FC236}">
                <a16:creationId xmlns:a16="http://schemas.microsoft.com/office/drawing/2014/main" id="{98938E5C-979F-7995-3D51-1CF958EFA9E8}"/>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48987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F2116-F516-3586-27B8-FA3728A280B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B2C8F7-F69C-BFE1-417E-DC2ABB80D0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1F175A0-4351-5E4A-08A6-0626DC90B7A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24DC44-89D1-AB47-1A71-0BA70DC7DA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1660F7-A0F1-A529-9942-4EA119FB88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EA6A521-72EB-4E83-197D-7DC242187966}"/>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20AB5A7F-E6AD-CD85-47A9-3277C52623F4}"/>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9" name="Slide Number Placeholder 8">
            <a:extLst>
              <a:ext uri="{FF2B5EF4-FFF2-40B4-BE49-F238E27FC236}">
                <a16:creationId xmlns:a16="http://schemas.microsoft.com/office/drawing/2014/main" id="{4CFA9561-A46C-8B19-8338-40A81B891AAE}"/>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10" name="TextBox 9" descr="CONFIDENTIAL_TAG_0xFFEE">
            <a:extLst>
              <a:ext uri="{FF2B5EF4-FFF2-40B4-BE49-F238E27FC236}">
                <a16:creationId xmlns:a16="http://schemas.microsoft.com/office/drawing/2014/main" id="{89253E02-47E6-DB9D-275F-AA3DBE7BE8C4}"/>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042088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3A297-87D7-66C0-94A3-81AD288A2E25}"/>
              </a:ext>
            </a:extLst>
          </p:cNvPr>
          <p:cNvSpPr>
            <a:spLocks noGrp="1"/>
          </p:cNvSpPr>
          <p:nvPr>
            <p:ph type="title"/>
          </p:nvPr>
        </p:nvSpPr>
        <p:spPr/>
        <p:txBody>
          <a:bodyPr>
            <a:normAutofit/>
          </a:bodyPr>
          <a:lstStyle>
            <a:lvl1pPr>
              <a:defRPr sz="3600"/>
            </a:lvl1pPr>
          </a:lstStyle>
          <a:p>
            <a:r>
              <a:rPr lang="en-US"/>
              <a:t>Click to edit Master title style</a:t>
            </a:r>
          </a:p>
        </p:txBody>
      </p:sp>
      <p:sp>
        <p:nvSpPr>
          <p:cNvPr id="3" name="Date Placeholder 2">
            <a:extLst>
              <a:ext uri="{FF2B5EF4-FFF2-40B4-BE49-F238E27FC236}">
                <a16:creationId xmlns:a16="http://schemas.microsoft.com/office/drawing/2014/main" id="{32A69F04-9B5D-52DD-FEE0-8C4B1B3C2B2F}"/>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20C17484-BD31-3AC4-0894-C4C3751A013C}"/>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5" name="Slide Number Placeholder 4">
            <a:extLst>
              <a:ext uri="{FF2B5EF4-FFF2-40B4-BE49-F238E27FC236}">
                <a16:creationId xmlns:a16="http://schemas.microsoft.com/office/drawing/2014/main" id="{1ACB5994-B9BF-107F-62FF-8E99822CD7FC}"/>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6" name="TextBox 5" descr="CONFIDENTIAL_TAG_0xFFEE">
            <a:extLst>
              <a:ext uri="{FF2B5EF4-FFF2-40B4-BE49-F238E27FC236}">
                <a16:creationId xmlns:a16="http://schemas.microsoft.com/office/drawing/2014/main" id="{92383BC1-053B-9324-D9DA-03827ADB6E6A}"/>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289968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Section Header 1">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6344" y="3328417"/>
            <a:ext cx="11256264" cy="1329267"/>
          </a:xfrm>
        </p:spPr>
        <p:txBody>
          <a:bodyPr>
            <a:noAutofit/>
          </a:bodyPr>
          <a:lstStyle>
            <a:lvl1pPr marL="0" indent="0" algn="ctr">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11256264" cy="1165224"/>
          </a:xfrm>
        </p:spPr>
        <p:txBody>
          <a:bodyPr anchor="b" anchorCtr="0"/>
          <a:lstStyle>
            <a:lvl1pPr algn="ctr">
              <a:defRPr b="1"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bg1"/>
                </a:solidFill>
              </a:defRPr>
            </a:lvl1pPr>
          </a:lstStyle>
          <a:p>
            <a:endParaRPr lang="en-US" dirty="0"/>
          </a:p>
        </p:txBody>
      </p:sp>
      <p:sp>
        <p:nvSpPr>
          <p:cNvPr id="12"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bg1"/>
                </a:solidFill>
              </a:defRPr>
            </a:lvl1pPr>
          </a:lstStyle>
          <a:p>
            <a:fld id="{47A9008A-481B-4F65-A514-1AA65EA0FD53}" type="slidenum">
              <a:rPr lang="en-US" smtClean="0"/>
              <a:pPr/>
              <a:t>‹#›</a:t>
            </a:fld>
            <a:endParaRPr lang="en-US" dirty="0"/>
          </a:p>
        </p:txBody>
      </p:sp>
      <p:sp>
        <p:nvSpPr>
          <p:cNvPr id="9" name="Footer Placeholder 4">
            <a:extLst>
              <a:ext uri="{FF2B5EF4-FFF2-40B4-BE49-F238E27FC236}">
                <a16:creationId xmlns:a16="http://schemas.microsoft.com/office/drawing/2014/main" id="{F7C4E471-930D-FB40-B9B0-4203DCF393FC}"/>
              </a:ext>
            </a:extLst>
          </p:cNvPr>
          <p:cNvSpPr>
            <a:spLocks noGrp="1"/>
          </p:cNvSpPr>
          <p:nvPr>
            <p:ph type="ftr" sz="quarter" idx="3"/>
          </p:nvPr>
        </p:nvSpPr>
        <p:spPr>
          <a:xfrm>
            <a:off x="1087036" y="6510528"/>
            <a:ext cx="7035320" cy="210312"/>
          </a:xfrm>
          <a:prstGeom prst="rect">
            <a:avLst/>
          </a:prstGeom>
        </p:spPr>
        <p:txBody>
          <a:bodyPr vert="horz" lIns="91440" tIns="45720" rIns="91440" bIns="45720" rtlCol="0" anchor="ctr"/>
          <a:lstStyle>
            <a:lvl1pPr algn="ctr">
              <a:defRPr sz="700" b="0">
                <a:solidFill>
                  <a:schemeClr val="bg1"/>
                </a:solidFill>
              </a:defRPr>
            </a:lvl1pPr>
          </a:lstStyle>
          <a:p>
            <a:r>
              <a:rPr lang="en-US"/>
              <a:t>MMEC Proprietary  </a:t>
            </a:r>
            <a:endParaRPr lang="en-US" dirty="0"/>
          </a:p>
        </p:txBody>
      </p:sp>
      <p:pic>
        <p:nvPicPr>
          <p:cNvPr id="10" name="Picture 9">
            <a:extLst>
              <a:ext uri="{FF2B5EF4-FFF2-40B4-BE49-F238E27FC236}">
                <a16:creationId xmlns:a16="http://schemas.microsoft.com/office/drawing/2014/main" id="{59BEE2D0-B6CF-A34E-A450-F0B43B20FE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TextBox 12" descr="CONFIDENTIAL_TAG_0xFFEE">
            <a:extLst>
              <a:ext uri="{FF2B5EF4-FFF2-40B4-BE49-F238E27FC236}">
                <a16:creationId xmlns:a16="http://schemas.microsoft.com/office/drawing/2014/main" id="{7C5BA21D-85AE-034B-819B-02F4A7AC3501}"/>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4584494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DAD5D-D256-258A-D34E-434CBFC824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8418D1-E6A1-100C-C70F-370A38D664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F076F3-63CC-1DD8-7B2C-4A8536B2F57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C902D1F-D800-3A94-1EF3-98E2EBC8325A}"/>
              </a:ext>
            </a:extLst>
          </p:cNvPr>
          <p:cNvSpPr>
            <a:spLocks noGrp="1"/>
          </p:cNvSpPr>
          <p:nvPr>
            <p:ph type="ftr" sz="quarter" idx="11"/>
          </p:nvPr>
        </p:nvSpPr>
        <p:spPr/>
        <p:txBody>
          <a:bodyPr/>
          <a:lstStyle/>
          <a:p>
            <a:r>
              <a:rPr lang="en-US"/>
              <a:t>MMEC Proprietary  </a:t>
            </a:r>
            <a:endParaRPr lang="en-US" dirty="0"/>
          </a:p>
        </p:txBody>
      </p:sp>
      <p:sp>
        <p:nvSpPr>
          <p:cNvPr id="6" name="Slide Number Placeholder 5">
            <a:extLst>
              <a:ext uri="{FF2B5EF4-FFF2-40B4-BE49-F238E27FC236}">
                <a16:creationId xmlns:a16="http://schemas.microsoft.com/office/drawing/2014/main" id="{AABDCB2A-4D67-9A71-40E5-E962DFCE1E08}"/>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7641777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4F044-5646-7B73-7ECB-39CA9F3636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F768CF-F12A-5F45-1F03-CB723D964BF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8BB6654-2819-0056-430C-47CC3F0A3DC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0FE740B-2F99-9C3F-3A43-ECFBB648C0D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98F8CFE-3EDC-DE51-18EB-FD1BC5605EC6}"/>
              </a:ext>
            </a:extLst>
          </p:cNvPr>
          <p:cNvSpPr>
            <a:spLocks noGrp="1"/>
          </p:cNvSpPr>
          <p:nvPr>
            <p:ph type="ftr" sz="quarter" idx="11"/>
          </p:nvPr>
        </p:nvSpPr>
        <p:spPr/>
        <p:txBody>
          <a:bodyPr/>
          <a:lstStyle/>
          <a:p>
            <a:r>
              <a:rPr lang="en-US"/>
              <a:t>MMEC Proprietary  </a:t>
            </a:r>
            <a:endParaRPr lang="en-US" dirty="0"/>
          </a:p>
        </p:txBody>
      </p:sp>
      <p:sp>
        <p:nvSpPr>
          <p:cNvPr id="7" name="Slide Number Placeholder 6">
            <a:extLst>
              <a:ext uri="{FF2B5EF4-FFF2-40B4-BE49-F238E27FC236}">
                <a16:creationId xmlns:a16="http://schemas.microsoft.com/office/drawing/2014/main" id="{551C2A69-57D7-F316-561B-1F1F8AD2303F}"/>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5715001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732-E3D4-494A-869F-5E48C462E5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40D27E-E3CE-4847-9C95-700FF5B584B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5E2346-9496-4512-A53E-F2D3B5C11BB7}"/>
              </a:ext>
            </a:extLst>
          </p:cNvPr>
          <p:cNvSpPr>
            <a:spLocks noGrp="1"/>
          </p:cNvSpPr>
          <p:nvPr>
            <p:ph type="dt" sz="half" idx="10"/>
          </p:nvPr>
        </p:nvSpPr>
        <p:spPr/>
        <p:txBody>
          <a:bodyPr/>
          <a:lstStyle/>
          <a:p>
            <a:fld id="{F0859A3C-EBFF-4099-9677-45671682F433}" type="datetimeFigureOut">
              <a:rPr lang="en-US" smtClean="0"/>
              <a:t>5/20/2025</a:t>
            </a:fld>
            <a:endParaRPr lang="en-US"/>
          </a:p>
        </p:txBody>
      </p:sp>
      <p:sp>
        <p:nvSpPr>
          <p:cNvPr id="5" name="Footer Placeholder 4">
            <a:extLst>
              <a:ext uri="{FF2B5EF4-FFF2-40B4-BE49-F238E27FC236}">
                <a16:creationId xmlns:a16="http://schemas.microsoft.com/office/drawing/2014/main" id="{F9ED71EE-52A5-4305-A9A6-FF32B91F70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6154BA-7018-4178-8835-402F7DF6B02A}"/>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5939206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F5F4D-B73C-C8FB-8A73-6E6541CA816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D984549-0712-A4B6-E122-43715F2444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742FEB8-E8B1-CCC7-018C-9AFF8A8D1B3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3884A24-06E1-436B-C8C1-86B7837094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749B60-C09D-36BB-CB43-0414AD49636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5392237-559E-EA24-159A-80D5ADC8A193}"/>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3D4EC9D-79B6-999F-6905-2E29E7128898}"/>
              </a:ext>
            </a:extLst>
          </p:cNvPr>
          <p:cNvSpPr>
            <a:spLocks noGrp="1"/>
          </p:cNvSpPr>
          <p:nvPr>
            <p:ph type="ftr" sz="quarter" idx="11"/>
          </p:nvPr>
        </p:nvSpPr>
        <p:spPr/>
        <p:txBody>
          <a:bodyPr/>
          <a:lstStyle/>
          <a:p>
            <a:r>
              <a:rPr lang="en-US"/>
              <a:t>MMEC Proprietary  </a:t>
            </a:r>
            <a:endParaRPr lang="en-US" dirty="0"/>
          </a:p>
        </p:txBody>
      </p:sp>
      <p:sp>
        <p:nvSpPr>
          <p:cNvPr id="9" name="Slide Number Placeholder 8">
            <a:extLst>
              <a:ext uri="{FF2B5EF4-FFF2-40B4-BE49-F238E27FC236}">
                <a16:creationId xmlns:a16="http://schemas.microsoft.com/office/drawing/2014/main" id="{C69D636F-30BC-FA75-A429-806A6B4FF8C5}"/>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17910101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541B9-8044-E88E-84B3-9768A9005B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9AA58A7-ECC6-BB15-0C3E-9E9F8BBBA07A}"/>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85D792C6-68E4-22F3-BB32-3B77A79196B5}"/>
              </a:ext>
            </a:extLst>
          </p:cNvPr>
          <p:cNvSpPr>
            <a:spLocks noGrp="1"/>
          </p:cNvSpPr>
          <p:nvPr>
            <p:ph type="ftr" sz="quarter" idx="11"/>
          </p:nvPr>
        </p:nvSpPr>
        <p:spPr/>
        <p:txBody>
          <a:bodyPr/>
          <a:lstStyle/>
          <a:p>
            <a:r>
              <a:rPr lang="en-US"/>
              <a:t>MMEC Proprietary  </a:t>
            </a:r>
            <a:endParaRPr lang="en-US" dirty="0"/>
          </a:p>
        </p:txBody>
      </p:sp>
      <p:sp>
        <p:nvSpPr>
          <p:cNvPr id="5" name="Slide Number Placeholder 4">
            <a:extLst>
              <a:ext uri="{FF2B5EF4-FFF2-40B4-BE49-F238E27FC236}">
                <a16:creationId xmlns:a16="http://schemas.microsoft.com/office/drawing/2014/main" id="{E20D708E-E42D-ED1D-0E22-15854E28D3F4}"/>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14876738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_slide_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CA1059-9AC6-3342-BCC8-A7832BEE2F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566" b="6326"/>
          <a:stretch/>
        </p:blipFill>
        <p:spPr>
          <a:xfrm>
            <a:off x="-14990" y="0"/>
            <a:ext cx="12257738" cy="6949440"/>
          </a:xfrm>
          <a:prstGeom prst="rect">
            <a:avLst/>
          </a:prstGeom>
        </p:spPr>
      </p:pic>
      <p:sp>
        <p:nvSpPr>
          <p:cNvPr id="15" name="Rectangle 14">
            <a:extLst>
              <a:ext uri="{FF2B5EF4-FFF2-40B4-BE49-F238E27FC236}">
                <a16:creationId xmlns:a16="http://schemas.microsoft.com/office/drawing/2014/main" id="{D3079D97-F29D-514C-A224-063510F05005}"/>
              </a:ext>
            </a:extLst>
          </p:cNvPr>
          <p:cNvSpPr/>
          <p:nvPr userDrawn="1"/>
        </p:nvSpPr>
        <p:spPr>
          <a:xfrm>
            <a:off x="0" y="0"/>
            <a:ext cx="12191999" cy="6949440"/>
          </a:xfrm>
          <a:prstGeom prst="rect">
            <a:avLst/>
          </a:prstGeom>
          <a:gradFill>
            <a:gsLst>
              <a:gs pos="0">
                <a:srgbClr val="000000">
                  <a:alpha val="0"/>
                </a:srgbClr>
              </a:gs>
              <a:gs pos="100000">
                <a:schemeClr val="accent6">
                  <a:lumMod val="0"/>
                  <a:alpha val="50000"/>
                </a:schemeClr>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B98420C4-21F9-7C40-8EE8-A95390E5A466}"/>
              </a:ext>
            </a:extLst>
          </p:cNvPr>
          <p:cNvCxnSpPr/>
          <p:nvPr userDrawn="1"/>
        </p:nvCxnSpPr>
        <p:spPr>
          <a:xfrm>
            <a:off x="5649464" y="2828034"/>
            <a:ext cx="893073"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6B27733-E082-EC4E-898E-EE4C5AFAC7A1}"/>
              </a:ext>
            </a:extLst>
          </p:cNvPr>
          <p:cNvSpPr/>
          <p:nvPr userDrawn="1"/>
        </p:nvSpPr>
        <p:spPr>
          <a:xfrm>
            <a:off x="1" y="5005142"/>
            <a:ext cx="12191998" cy="1304332"/>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D0F8B91-5A66-DC4E-A79A-A099CF9BC7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57641" y="5217106"/>
            <a:ext cx="2876718" cy="914400"/>
          </a:xfrm>
          <a:prstGeom prst="rect">
            <a:avLst/>
          </a:prstGeom>
        </p:spPr>
      </p:pic>
    </p:spTree>
    <p:extLst>
      <p:ext uri="{BB962C8B-B14F-4D97-AF65-F5344CB8AC3E}">
        <p14:creationId xmlns:p14="http://schemas.microsoft.com/office/powerpoint/2010/main" val="36032646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Header_slide_2">
    <p:bg>
      <p:bgPr>
        <a:solidFill>
          <a:srgbClr val="25476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7299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66D232-8E98-054D-9728-BFF582E91681}"/>
              </a:ext>
            </a:extLst>
          </p:cNvPr>
          <p:cNvPicPr>
            <a:picLocks noChangeAspect="1"/>
          </p:cNvPicPr>
          <p:nvPr userDrawn="1"/>
        </p:nvPicPr>
        <p:blipFill>
          <a:blip r:embed="rId2"/>
          <a:stretch>
            <a:fillRect/>
          </a:stretch>
        </p:blipFill>
        <p:spPr>
          <a:xfrm>
            <a:off x="0" y="0"/>
            <a:ext cx="3588300" cy="6858000"/>
          </a:xfrm>
          <a:prstGeom prst="rect">
            <a:avLst/>
          </a:prstGeom>
        </p:spPr>
      </p:pic>
    </p:spTree>
    <p:extLst>
      <p:ext uri="{BB962C8B-B14F-4D97-AF65-F5344CB8AC3E}">
        <p14:creationId xmlns:p14="http://schemas.microsoft.com/office/powerpoint/2010/main" val="39934128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_slide_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B7FB824-A5DF-BA4A-AC9A-D8EE516388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Rectangle 18">
            <a:extLst>
              <a:ext uri="{FF2B5EF4-FFF2-40B4-BE49-F238E27FC236}">
                <a16:creationId xmlns:a16="http://schemas.microsoft.com/office/drawing/2014/main" id="{6186F4A3-AD95-6444-8AEC-488F39277424}"/>
              </a:ext>
            </a:extLst>
          </p:cNvPr>
          <p:cNvSpPr/>
          <p:nvPr userDrawn="1"/>
        </p:nvSpPr>
        <p:spPr>
          <a:xfrm>
            <a:off x="0" y="3785936"/>
            <a:ext cx="12192000" cy="224589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047B8DD-5370-BF41-AF51-87ADE9AC8996}"/>
              </a:ext>
            </a:extLst>
          </p:cNvPr>
          <p:cNvSpPr/>
          <p:nvPr userDrawn="1"/>
        </p:nvSpPr>
        <p:spPr>
          <a:xfrm>
            <a:off x="7732438" y="5619751"/>
            <a:ext cx="3419475" cy="1238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3816" y="5781675"/>
            <a:ext cx="2876718" cy="914400"/>
          </a:xfrm>
          <a:prstGeom prst="rect">
            <a:avLst/>
          </a:prstGeom>
        </p:spPr>
      </p:pic>
    </p:spTree>
    <p:extLst>
      <p:ext uri="{BB962C8B-B14F-4D97-AF65-F5344CB8AC3E}">
        <p14:creationId xmlns:p14="http://schemas.microsoft.com/office/powerpoint/2010/main" val="7183901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2"/>
          <a:stretch>
            <a:fillRect/>
          </a:stretch>
        </p:blipFill>
        <p:spPr>
          <a:xfrm>
            <a:off x="-86020" y="-24063"/>
            <a:ext cx="3588300" cy="6906126"/>
          </a:xfrm>
          <a:prstGeom prst="rect">
            <a:avLst/>
          </a:prstGeom>
        </p:spPr>
      </p:pic>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3816" y="5781675"/>
            <a:ext cx="2876718" cy="914400"/>
          </a:xfrm>
          <a:prstGeom prst="rect">
            <a:avLst/>
          </a:prstGeom>
        </p:spPr>
      </p:pic>
    </p:spTree>
    <p:extLst>
      <p:ext uri="{BB962C8B-B14F-4D97-AF65-F5344CB8AC3E}">
        <p14:creationId xmlns:p14="http://schemas.microsoft.com/office/powerpoint/2010/main" val="32377050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3"/>
          <a:stretch>
            <a:fillRect/>
          </a:stretch>
        </p:blipFill>
        <p:spPr>
          <a:xfrm>
            <a:off x="-86020" y="-24063"/>
            <a:ext cx="3588300" cy="6906126"/>
          </a:xfrm>
          <a:prstGeom prst="rect">
            <a:avLst/>
          </a:prstGeom>
        </p:spPr>
      </p:pic>
    </p:spTree>
    <p:custDataLst>
      <p:tags r:id="rId1"/>
    </p:custDataLst>
    <p:extLst>
      <p:ext uri="{BB962C8B-B14F-4D97-AF65-F5344CB8AC3E}">
        <p14:creationId xmlns:p14="http://schemas.microsoft.com/office/powerpoint/2010/main" val="21950582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Content_slide_1">
    <p:spTree>
      <p:nvGrpSpPr>
        <p:cNvPr id="1" name=""/>
        <p:cNvGrpSpPr/>
        <p:nvPr/>
      </p:nvGrpSpPr>
      <p:grpSpPr>
        <a:xfrm>
          <a:off x="0" y="0"/>
          <a:ext cx="0" cy="0"/>
          <a:chOff x="0" y="0"/>
          <a:chExt cx="0" cy="0"/>
        </a:xfrm>
      </p:grpSpPr>
      <p:sp>
        <p:nvSpPr>
          <p:cNvPr id="4" name="Rectangle 9">
            <a:extLst>
              <a:ext uri="{FF2B5EF4-FFF2-40B4-BE49-F238E27FC236}">
                <a16:creationId xmlns:a16="http://schemas.microsoft.com/office/drawing/2014/main" id="{983DD9BF-702D-438C-82A0-C7A7D8B5C3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10088880" y="0"/>
            <a:ext cx="2103120" cy="6858000"/>
          </a:xfrm>
          <a:prstGeom prst="rect">
            <a:avLst/>
          </a:prstGeom>
          <a:solidFill>
            <a:srgbClr val="254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11">
            <a:extLst>
              <a:ext uri="{FF2B5EF4-FFF2-40B4-BE49-F238E27FC236}">
                <a16:creationId xmlns:a16="http://schemas.microsoft.com/office/drawing/2014/main" id="{E8F49998-0346-4937-8264-FC53768C5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04B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2" descr="OACC (@TheOACC) / Twitter">
            <a:extLst>
              <a:ext uri="{FF2B5EF4-FFF2-40B4-BE49-F238E27FC236}">
                <a16:creationId xmlns:a16="http://schemas.microsoft.com/office/drawing/2014/main" id="{66019905-DC7D-4102-8D44-5928A135C634}"/>
              </a:ext>
            </a:extLst>
          </p:cNvPr>
          <p:cNvPicPr>
            <a:picLocks noChangeAspect="1" noChangeArrowheads="1"/>
          </p:cNvPicPr>
          <p:nvPr userDrawn="1"/>
        </p:nvPicPr>
        <p:blipFill rotWithShape="1">
          <a:blip r:embed="rId2">
            <a:alphaModFix/>
            <a:extLst>
              <a:ext uri="{28A0092B-C50C-407E-A947-70E740481C1C}">
                <a14:useLocalDpi xmlns:a14="http://schemas.microsoft.com/office/drawing/2010/main" val="0"/>
              </a:ext>
            </a:extLst>
          </a:blip>
          <a:srcRect r="-8" b="153"/>
          <a:stretch/>
        </p:blipFill>
        <p:spPr bwMode="auto">
          <a:xfrm>
            <a:off x="9030743" y="2474254"/>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noFill/>
          <a:effectLst>
            <a:softEdge rad="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721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Content_slide_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047B8DD-5370-BF41-AF51-87ADE9AC8996}"/>
              </a:ext>
            </a:extLst>
          </p:cNvPr>
          <p:cNvSpPr/>
          <p:nvPr userDrawn="1"/>
        </p:nvSpPr>
        <p:spPr>
          <a:xfrm>
            <a:off x="4386262" y="5619751"/>
            <a:ext cx="3419475" cy="1238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57640" y="5781675"/>
            <a:ext cx="2876718" cy="914400"/>
          </a:xfrm>
          <a:prstGeom prst="rect">
            <a:avLst/>
          </a:prstGeom>
        </p:spPr>
      </p:pic>
    </p:spTree>
    <p:extLst>
      <p:ext uri="{BB962C8B-B14F-4D97-AF65-F5344CB8AC3E}">
        <p14:creationId xmlns:p14="http://schemas.microsoft.com/office/powerpoint/2010/main" val="16399505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73854-9914-4DF5-B0A5-42CFEB0FD5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1FECE3-F5A0-408D-B3BB-E407311D4B6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87629BD-3DE3-43C6-AF0D-1A8453CFE609}"/>
              </a:ext>
            </a:extLst>
          </p:cNvPr>
          <p:cNvSpPr>
            <a:spLocks noGrp="1"/>
          </p:cNvSpPr>
          <p:nvPr>
            <p:ph type="dt" sz="half" idx="10"/>
          </p:nvPr>
        </p:nvSpPr>
        <p:spPr/>
        <p:txBody>
          <a:bodyPr/>
          <a:lstStyle/>
          <a:p>
            <a:fld id="{F0859A3C-EBFF-4099-9677-45671682F433}" type="datetimeFigureOut">
              <a:rPr lang="en-US" smtClean="0"/>
              <a:t>5/20/2025</a:t>
            </a:fld>
            <a:endParaRPr lang="en-US"/>
          </a:p>
        </p:txBody>
      </p:sp>
      <p:sp>
        <p:nvSpPr>
          <p:cNvPr id="5" name="Footer Placeholder 4">
            <a:extLst>
              <a:ext uri="{FF2B5EF4-FFF2-40B4-BE49-F238E27FC236}">
                <a16:creationId xmlns:a16="http://schemas.microsoft.com/office/drawing/2014/main" id="{EDCDF310-D640-4C70-8B6C-0E9D1F63EB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202DFC-B9DD-4511-99A1-AEC637F65AF8}"/>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0050718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2"/>
          <a:stretch>
            <a:fillRect/>
          </a:stretch>
        </p:blipFill>
        <p:spPr>
          <a:xfrm>
            <a:off x="-86020" y="-24063"/>
            <a:ext cx="3588300" cy="6906126"/>
          </a:xfrm>
          <a:prstGeom prst="rect">
            <a:avLst/>
          </a:prstGeom>
        </p:spPr>
      </p:pic>
    </p:spTree>
    <p:extLst>
      <p:ext uri="{BB962C8B-B14F-4D97-AF65-F5344CB8AC3E}">
        <p14:creationId xmlns:p14="http://schemas.microsoft.com/office/powerpoint/2010/main" val="30435054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_slide_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9666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_you_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4177A47-6DDD-854F-A364-1A0FF5466670}"/>
              </a:ext>
            </a:extLst>
          </p:cNvPr>
          <p:cNvSpPr/>
          <p:nvPr userDrawn="1"/>
        </p:nvSpPr>
        <p:spPr>
          <a:xfrm>
            <a:off x="0" y="5259946"/>
            <a:ext cx="12192000" cy="15980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25E1C57-2774-E046-A8C6-4D453DDEB4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22372" y="5590561"/>
            <a:ext cx="2947256" cy="936822"/>
          </a:xfrm>
          <a:prstGeom prst="rect">
            <a:avLst/>
          </a:prstGeom>
        </p:spPr>
      </p:pic>
    </p:spTree>
    <p:extLst>
      <p:ext uri="{BB962C8B-B14F-4D97-AF65-F5344CB8AC3E}">
        <p14:creationId xmlns:p14="http://schemas.microsoft.com/office/powerpoint/2010/main" val="32842892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549835" y="6310313"/>
            <a:ext cx="2844800" cy="365125"/>
          </a:xfrm>
          <a:prstGeom prst="rect">
            <a:avLst/>
          </a:prstGeom>
        </p:spPr>
        <p:txBody>
          <a:bodyPr/>
          <a:lstStyle>
            <a:lvl1pPr>
              <a:defRPr sz="1200">
                <a:solidFill>
                  <a:schemeClr val="bg1"/>
                </a:solidFill>
                <a:latin typeface="Gill Sans MT" panose="020B0502020104020203" pitchFamily="34" charset="0"/>
              </a:defRPr>
            </a:lvl1pPr>
          </a:lstStyle>
          <a:p>
            <a:fld id="{695255DA-0DDD-4B79-9186-39FCD83CF054}"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2236500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3D3D3D"/>
                </a:solidFill>
                <a:latin typeface="Helvetica"/>
                <a:cs typeface="Helvetica"/>
              </a:defRPr>
            </a:lvl1pPr>
          </a:lstStyle>
          <a:p>
            <a:endParaRPr/>
          </a:p>
        </p:txBody>
      </p:sp>
      <p:sp>
        <p:nvSpPr>
          <p:cNvPr id="3" name="Holder 3"/>
          <p:cNvSpPr>
            <a:spLocks noGrp="1"/>
          </p:cNvSpPr>
          <p:nvPr>
            <p:ph type="body" idx="1"/>
          </p:nvPr>
        </p:nvSpPr>
        <p:spPr/>
        <p:txBody>
          <a:bodyPr lIns="0" tIns="0" rIns="0" bIns="0"/>
          <a:lstStyle>
            <a:lvl1pPr>
              <a:defRPr sz="1800" b="0" i="0">
                <a:solidFill>
                  <a:schemeClr val="tx1"/>
                </a:solidFill>
                <a:latin typeface="Helvetica"/>
                <a:cs typeface="Helvetic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460153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99519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110993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5/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420900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5/2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722266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5/2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7507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4BCD-FA64-49DA-96F8-3CF7621013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458D20-D048-450A-B09A-0E705F876DD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41149F-ADF7-4294-B656-8FEC26CBCC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81487D3-D57C-42EF-BA80-4C913EC2CC6F}"/>
              </a:ext>
            </a:extLst>
          </p:cNvPr>
          <p:cNvSpPr>
            <a:spLocks noGrp="1"/>
          </p:cNvSpPr>
          <p:nvPr>
            <p:ph type="dt" sz="half" idx="10"/>
          </p:nvPr>
        </p:nvSpPr>
        <p:spPr/>
        <p:txBody>
          <a:bodyPr/>
          <a:lstStyle/>
          <a:p>
            <a:fld id="{F0859A3C-EBFF-4099-9677-45671682F433}" type="datetimeFigureOut">
              <a:rPr lang="en-US" smtClean="0"/>
              <a:t>5/20/2025</a:t>
            </a:fld>
            <a:endParaRPr lang="en-US"/>
          </a:p>
        </p:txBody>
      </p:sp>
      <p:sp>
        <p:nvSpPr>
          <p:cNvPr id="6" name="Footer Placeholder 5">
            <a:extLst>
              <a:ext uri="{FF2B5EF4-FFF2-40B4-BE49-F238E27FC236}">
                <a16:creationId xmlns:a16="http://schemas.microsoft.com/office/drawing/2014/main" id="{C5A1D174-8065-4662-BB28-6F75BCB004E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CADE99-4495-4055-829D-F76F05856753}"/>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6727340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5/2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587376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5/2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165320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984327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644093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999776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839478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B3DC9-35F0-4E8F-A18D-1E5DD2DBF9E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CE9325-71F0-4D45-8AC1-FB10BA47A7A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32D8DCE-6284-468C-AFAE-9D533BB298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58E3AA-133E-41CB-B554-FF0CE7409A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6F97C8-17F5-43CF-8DEE-A8B3CAD75E1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6AC950-B26D-4B4B-AF47-260954C1B4D5}"/>
              </a:ext>
            </a:extLst>
          </p:cNvPr>
          <p:cNvSpPr>
            <a:spLocks noGrp="1"/>
          </p:cNvSpPr>
          <p:nvPr>
            <p:ph type="dt" sz="half" idx="10"/>
          </p:nvPr>
        </p:nvSpPr>
        <p:spPr/>
        <p:txBody>
          <a:bodyPr/>
          <a:lstStyle/>
          <a:p>
            <a:fld id="{F0859A3C-EBFF-4099-9677-45671682F433}" type="datetimeFigureOut">
              <a:rPr lang="en-US" smtClean="0"/>
              <a:t>5/20/2025</a:t>
            </a:fld>
            <a:endParaRPr lang="en-US"/>
          </a:p>
        </p:txBody>
      </p:sp>
      <p:sp>
        <p:nvSpPr>
          <p:cNvPr id="8" name="Footer Placeholder 7">
            <a:extLst>
              <a:ext uri="{FF2B5EF4-FFF2-40B4-BE49-F238E27FC236}">
                <a16:creationId xmlns:a16="http://schemas.microsoft.com/office/drawing/2014/main" id="{25010F77-63F5-4B45-8DEF-4BF6AA860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030B078-13CC-4A77-80BD-6E088D5C4B4E}"/>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9801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61A8C-F13D-465C-BF14-2835514B0FC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75B9B8-4E2B-43FD-B5F7-E9DED923FEA5}"/>
              </a:ext>
            </a:extLst>
          </p:cNvPr>
          <p:cNvSpPr>
            <a:spLocks noGrp="1"/>
          </p:cNvSpPr>
          <p:nvPr>
            <p:ph type="dt" sz="half" idx="10"/>
          </p:nvPr>
        </p:nvSpPr>
        <p:spPr/>
        <p:txBody>
          <a:bodyPr/>
          <a:lstStyle/>
          <a:p>
            <a:fld id="{F0859A3C-EBFF-4099-9677-45671682F433}" type="datetimeFigureOut">
              <a:rPr lang="en-US" smtClean="0"/>
              <a:t>5/20/2025</a:t>
            </a:fld>
            <a:endParaRPr lang="en-US"/>
          </a:p>
        </p:txBody>
      </p:sp>
      <p:sp>
        <p:nvSpPr>
          <p:cNvPr id="4" name="Footer Placeholder 3">
            <a:extLst>
              <a:ext uri="{FF2B5EF4-FFF2-40B4-BE49-F238E27FC236}">
                <a16:creationId xmlns:a16="http://schemas.microsoft.com/office/drawing/2014/main" id="{9236F1BE-85C0-4B50-A59D-C88F7DE5872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FC5703-55CD-4C75-9CCF-98EA437DD6D2}"/>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3098155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99E72C-A32D-4BD8-9C46-2AD5DDF10356}"/>
              </a:ext>
            </a:extLst>
          </p:cNvPr>
          <p:cNvSpPr>
            <a:spLocks noGrp="1"/>
          </p:cNvSpPr>
          <p:nvPr>
            <p:ph type="dt" sz="half" idx="10"/>
          </p:nvPr>
        </p:nvSpPr>
        <p:spPr/>
        <p:txBody>
          <a:bodyPr/>
          <a:lstStyle/>
          <a:p>
            <a:fld id="{F0859A3C-EBFF-4099-9677-45671682F433}" type="datetimeFigureOut">
              <a:rPr lang="en-US" smtClean="0"/>
              <a:t>5/20/2025</a:t>
            </a:fld>
            <a:endParaRPr lang="en-US"/>
          </a:p>
        </p:txBody>
      </p:sp>
      <p:sp>
        <p:nvSpPr>
          <p:cNvPr id="3" name="Footer Placeholder 2">
            <a:extLst>
              <a:ext uri="{FF2B5EF4-FFF2-40B4-BE49-F238E27FC236}">
                <a16:creationId xmlns:a16="http://schemas.microsoft.com/office/drawing/2014/main" id="{A922C2C5-CBFC-43A6-AEA8-87444D71ACA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472903B-F13B-44C1-8182-185FBEF2D533}"/>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3590787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2682-EFA0-449B-8230-202CFCC7FD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5E572AE-647A-47E1-A45B-FAFC2C73C0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F851253-B247-451C-9895-0D20D4BFC6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795103-8092-4DFE-94C0-E3B39969D301}"/>
              </a:ext>
            </a:extLst>
          </p:cNvPr>
          <p:cNvSpPr>
            <a:spLocks noGrp="1"/>
          </p:cNvSpPr>
          <p:nvPr>
            <p:ph type="dt" sz="half" idx="10"/>
          </p:nvPr>
        </p:nvSpPr>
        <p:spPr/>
        <p:txBody>
          <a:bodyPr/>
          <a:lstStyle/>
          <a:p>
            <a:fld id="{F0859A3C-EBFF-4099-9677-45671682F433}" type="datetimeFigureOut">
              <a:rPr lang="en-US" smtClean="0"/>
              <a:t>5/20/2025</a:t>
            </a:fld>
            <a:endParaRPr lang="en-US"/>
          </a:p>
        </p:txBody>
      </p:sp>
      <p:sp>
        <p:nvSpPr>
          <p:cNvPr id="6" name="Footer Placeholder 5">
            <a:extLst>
              <a:ext uri="{FF2B5EF4-FFF2-40B4-BE49-F238E27FC236}">
                <a16:creationId xmlns:a16="http://schemas.microsoft.com/office/drawing/2014/main" id="{0EB9C38B-8295-4053-B777-B0A9A97390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7B815-E840-4709-AB53-3DBF2C178129}"/>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718886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6A048-3A0B-4C5B-A634-AE217CDD0E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C9D0866-7DB6-40C2-82FF-FD7D52DD899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AF673FB-A185-4BB2-AC18-26C1AEA466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C26F8F5-6072-40EC-AA62-8648DCAB4592}"/>
              </a:ext>
            </a:extLst>
          </p:cNvPr>
          <p:cNvSpPr>
            <a:spLocks noGrp="1"/>
          </p:cNvSpPr>
          <p:nvPr>
            <p:ph type="dt" sz="half" idx="10"/>
          </p:nvPr>
        </p:nvSpPr>
        <p:spPr/>
        <p:txBody>
          <a:bodyPr/>
          <a:lstStyle/>
          <a:p>
            <a:fld id="{F0859A3C-EBFF-4099-9677-45671682F433}" type="datetimeFigureOut">
              <a:rPr lang="en-US" smtClean="0"/>
              <a:t>5/20/2025</a:t>
            </a:fld>
            <a:endParaRPr lang="en-US"/>
          </a:p>
        </p:txBody>
      </p:sp>
      <p:sp>
        <p:nvSpPr>
          <p:cNvPr id="6" name="Footer Placeholder 5">
            <a:extLst>
              <a:ext uri="{FF2B5EF4-FFF2-40B4-BE49-F238E27FC236}">
                <a16:creationId xmlns:a16="http://schemas.microsoft.com/office/drawing/2014/main" id="{171EB464-D851-45A1-9383-EB47377FE5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114406-C3B3-4651-A103-2A72C29AC5B6}"/>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8562472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image" Target="../media/image3.emf"/><Relationship Id="rId3" Type="http://schemas.openxmlformats.org/officeDocument/2006/relationships/slideLayout" Target="../slideLayouts/slideLayout14.xml"/><Relationship Id="rId7" Type="http://schemas.openxmlformats.org/officeDocument/2006/relationships/theme" Target="../theme/theme2.xml"/><Relationship Id="rId12"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2.png"/><Relationship Id="rId5" Type="http://schemas.openxmlformats.org/officeDocument/2006/relationships/slideLayout" Target="../slideLayouts/slideLayout16.xml"/><Relationship Id="rId10"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8.png"/><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CEFDDA-0606-4479-8A0E-75EA20B78B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2389C92-CFE6-4854-868E-C7F85E5CBD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391BB9-D968-4C71-8177-A89B0D6F45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859A3C-EBFF-4099-9677-45671682F433}" type="datetimeFigureOut">
              <a:rPr lang="en-US" smtClean="0"/>
              <a:t>5/20/2025</a:t>
            </a:fld>
            <a:endParaRPr lang="en-US"/>
          </a:p>
        </p:txBody>
      </p:sp>
      <p:sp>
        <p:nvSpPr>
          <p:cNvPr id="5" name="Footer Placeholder 4">
            <a:extLst>
              <a:ext uri="{FF2B5EF4-FFF2-40B4-BE49-F238E27FC236}">
                <a16:creationId xmlns:a16="http://schemas.microsoft.com/office/drawing/2014/main" id="{03EDE88D-4C21-4C77-9E48-88A0530F5A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A6346AD-E348-4F21-9553-4F55C2C847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C97EF6-BE3C-4807-B335-5B970DDD1B47}" type="slidenum">
              <a:rPr lang="en-US" smtClean="0"/>
              <a:t>‹#›</a:t>
            </a:fld>
            <a:endParaRPr lang="en-US"/>
          </a:p>
        </p:txBody>
      </p:sp>
    </p:spTree>
    <p:extLst>
      <p:ext uri="{BB962C8B-B14F-4D97-AF65-F5344CB8AC3E}">
        <p14:creationId xmlns:p14="http://schemas.microsoft.com/office/powerpoint/2010/main" val="9014617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CA0EFFF-3145-6EE3-59F5-B6EB269D4944}"/>
              </a:ext>
            </a:extLst>
          </p:cNvPr>
          <p:cNvSpPr/>
          <p:nvPr/>
        </p:nvSpPr>
        <p:spPr>
          <a:xfrm>
            <a:off x="1380931" y="1564"/>
            <a:ext cx="10811068" cy="8255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342C243E-A2C9-F453-6701-8A757855AB49}"/>
              </a:ext>
            </a:extLst>
          </p:cNvPr>
          <p:cNvSpPr/>
          <p:nvPr/>
        </p:nvSpPr>
        <p:spPr>
          <a:xfrm rot="5400000">
            <a:off x="-574289" y="574290"/>
            <a:ext cx="3100041" cy="1951463"/>
          </a:xfrm>
          <a:prstGeom prst="r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6C803E82-0CA3-6BE4-4F1B-2E4DDBCAED4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 y="349458"/>
            <a:ext cx="11822805" cy="1180762"/>
          </a:xfrm>
          <a:prstGeom prst="rect">
            <a:avLst/>
          </a:prstGeom>
        </p:spPr>
      </p:pic>
      <p:pic>
        <p:nvPicPr>
          <p:cNvPr id="7" name="Content Placeholder 5" descr="Icon&#10;&#10;Description automatically generated">
            <a:extLst>
              <a:ext uri="{FF2B5EF4-FFF2-40B4-BE49-F238E27FC236}">
                <a16:creationId xmlns:a16="http://schemas.microsoft.com/office/drawing/2014/main" id="{389BC139-4E46-D7FA-0D1B-9A70EB633296}"/>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733732" y="4001294"/>
            <a:ext cx="7458267" cy="2856706"/>
          </a:xfrm>
          <a:prstGeom prst="rect">
            <a:avLst/>
          </a:prstGeom>
        </p:spPr>
      </p:pic>
      <p:sp>
        <p:nvSpPr>
          <p:cNvPr id="2" name="Title Placeholder 1">
            <a:extLst>
              <a:ext uri="{FF2B5EF4-FFF2-40B4-BE49-F238E27FC236}">
                <a16:creationId xmlns:a16="http://schemas.microsoft.com/office/drawing/2014/main" id="{A8AE9679-86F9-DBEB-C0E9-41B539282119}"/>
              </a:ext>
            </a:extLst>
          </p:cNvPr>
          <p:cNvSpPr>
            <a:spLocks noGrp="1"/>
          </p:cNvSpPr>
          <p:nvPr>
            <p:ph type="title"/>
          </p:nvPr>
        </p:nvSpPr>
        <p:spPr>
          <a:xfrm>
            <a:off x="838200" y="349458"/>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052526D-F614-E410-BA94-77067DE09B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C6AEC42-6C4C-51DA-CDE1-3BC1047EAB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6316D87F-E68E-3586-E579-6813B854C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MEC Proprietary  </a:t>
            </a:r>
          </a:p>
        </p:txBody>
      </p:sp>
      <p:sp>
        <p:nvSpPr>
          <p:cNvPr id="6" name="Slide Number Placeholder 5">
            <a:extLst>
              <a:ext uri="{FF2B5EF4-FFF2-40B4-BE49-F238E27FC236}">
                <a16:creationId xmlns:a16="http://schemas.microsoft.com/office/drawing/2014/main" id="{A2D96B5B-5267-084B-B14C-C6C4AC5749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A9008A-481B-4F65-A514-1AA65EA0FD53}" type="slidenum">
              <a:rPr lang="en-US" smtClean="0"/>
              <a:pPr/>
              <a:t>‹#›</a:t>
            </a:fld>
            <a:endParaRPr lang="en-US" dirty="0"/>
          </a:p>
        </p:txBody>
      </p:sp>
      <p:graphicFrame>
        <p:nvGraphicFramePr>
          <p:cNvPr id="10" name="Object 9" hidden="1">
            <a:extLst>
              <a:ext uri="{FF2B5EF4-FFF2-40B4-BE49-F238E27FC236}">
                <a16:creationId xmlns:a16="http://schemas.microsoft.com/office/drawing/2014/main" id="{4C772037-C3BA-E37D-1D0C-B85DA68BF4C5}"/>
              </a:ext>
            </a:extLst>
          </p:cNvPr>
          <p:cNvGraphicFramePr>
            <a:graphicFrameLocks noChangeAspect="1"/>
          </p:cNvGraphicFramePr>
          <p:nvPr userDrawn="1">
            <p:custDataLst>
              <p:tags r:id="rId8"/>
            </p:custDataLst>
            <p:extLst>
              <p:ext uri="{D42A27DB-BD31-4B8C-83A1-F6EECF244321}">
                <p14:modId xmlns:p14="http://schemas.microsoft.com/office/powerpoint/2010/main" val="15802401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0" name="Object 9" hidden="1">
                        <a:extLst>
                          <a:ext uri="{FF2B5EF4-FFF2-40B4-BE49-F238E27FC236}">
                            <a16:creationId xmlns:a16="http://schemas.microsoft.com/office/drawing/2014/main" id="{4C772037-C3BA-E37D-1D0C-B85DA68BF4C5}"/>
                          </a:ext>
                        </a:extLst>
                      </p:cNvPr>
                      <p:cNvPicPr/>
                      <p:nvPr/>
                    </p:nvPicPr>
                    <p:blipFill>
                      <a:blip r:embed="rId13"/>
                      <a:stretch>
                        <a:fillRect/>
                      </a:stretch>
                    </p:blipFill>
                    <p:spPr>
                      <a:xfrm>
                        <a:off x="2118" y="1589"/>
                        <a:ext cx="2116"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F659771-117C-094A-8F14-2066F1B7BB10}"/>
              </a:ext>
            </a:extLst>
          </p:cNvPr>
          <p:cNvSpPr/>
          <p:nvPr userDrawn="1">
            <p:custDataLst>
              <p:tags r:id="rId9"/>
            </p:custDataLst>
          </p:nvPr>
        </p:nvSpPr>
        <p:spPr bwMode="auto">
          <a:xfrm>
            <a:off x="0" y="0"/>
            <a:ext cx="158750" cy="158750"/>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3600" b="1"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29044849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dt="0"/>
  <p:txStyles>
    <p:titleStyle>
      <a:lvl1pPr algn="l" defTabSz="914400" rtl="0" eaLnBrk="1" latinLnBrk="0" hangingPunct="1">
        <a:lnSpc>
          <a:spcPct val="90000"/>
        </a:lnSpc>
        <a:spcBef>
          <a:spcPct val="0"/>
        </a:spcBef>
        <a:buNone/>
        <a:defRPr sz="3600" b="1" i="0" kern="1200">
          <a:solidFill>
            <a:schemeClr val="bg1"/>
          </a:solidFill>
          <a:latin typeface="Avenir Heavy" panose="02000503020000020003" pitchFamily="2"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rgbClr val="0C909D"/>
          </a:solidFill>
          <a:latin typeface="Avenir Book" panose="02000503020000020003"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rgbClr val="0C909D"/>
          </a:solidFill>
          <a:latin typeface="Avenir Book" panose="02000503020000020003"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rgbClr val="0C909D"/>
          </a:solidFill>
          <a:latin typeface="Avenir Book" panose="02000503020000020003"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rgbClr val="0C909D"/>
          </a:solidFill>
          <a:latin typeface="Avenir Book" panose="02000503020000020003"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rgbClr val="0C909D"/>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9">
          <p15:clr>
            <a:srgbClr val="F26B43"/>
          </p15:clr>
        </p15:guide>
        <p15:guide id="4" pos="7385">
          <p15:clr>
            <a:srgbClr val="F26B43"/>
          </p15:clr>
        </p15:guide>
        <p15:guide id="5" orient="horz" pos="931">
          <p15:clr>
            <a:srgbClr val="F26B43"/>
          </p15:clr>
        </p15:guide>
        <p15:guide id="6" orient="horz" pos="877">
          <p15:clr>
            <a:srgbClr val="F26B43"/>
          </p15:clr>
        </p15:guide>
        <p15:guide id="7" orient="horz" pos="261">
          <p15:clr>
            <a:srgbClr val="F26B43"/>
          </p15:clr>
        </p15:guide>
        <p15:guide id="8" orient="horz" pos="3858">
          <p15:clr>
            <a:srgbClr val="F26B43"/>
          </p15:clr>
        </p15:guide>
        <p15:guide id="9" orient="horz" pos="420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Content Placeholder 3" descr="A picture containing text, electronics&#10;&#10;Description automatically generated">
            <a:extLst>
              <a:ext uri="{FF2B5EF4-FFF2-40B4-BE49-F238E27FC236}">
                <a16:creationId xmlns:a16="http://schemas.microsoft.com/office/drawing/2014/main" id="{65A82287-9B8E-C0BE-9768-EDCE00663190}"/>
              </a:ext>
            </a:extLst>
          </p:cNvPr>
          <p:cNvPicPr>
            <a:picLocks noChangeAspect="1"/>
          </p:cNvPicPr>
          <p:nvPr/>
        </p:nvPicPr>
        <p:blipFill>
          <a:blip r:embed="rId6"/>
          <a:stretch>
            <a:fillRect/>
          </a:stretch>
        </p:blipFill>
        <p:spPr>
          <a:xfrm>
            <a:off x="-1" y="-1829"/>
            <a:ext cx="12192000" cy="6858000"/>
          </a:xfrm>
          <a:prstGeom prst="rect">
            <a:avLst/>
          </a:prstGeom>
        </p:spPr>
      </p:pic>
      <p:sp>
        <p:nvSpPr>
          <p:cNvPr id="8" name="Rectangle 7">
            <a:extLst>
              <a:ext uri="{FF2B5EF4-FFF2-40B4-BE49-F238E27FC236}">
                <a16:creationId xmlns:a16="http://schemas.microsoft.com/office/drawing/2014/main" id="{FF757486-75AB-C78C-8AA0-5737F1D85CC9}"/>
              </a:ext>
            </a:extLst>
          </p:cNvPr>
          <p:cNvSpPr/>
          <p:nvPr/>
        </p:nvSpPr>
        <p:spPr>
          <a:xfrm>
            <a:off x="1380931" y="0"/>
            <a:ext cx="10811068" cy="8255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92A682F1-B71C-AE86-A033-FB5CCAEE6E88}"/>
              </a:ext>
            </a:extLst>
          </p:cNvPr>
          <p:cNvSpPr/>
          <p:nvPr/>
        </p:nvSpPr>
        <p:spPr>
          <a:xfrm rot="5400000">
            <a:off x="-574289" y="574290"/>
            <a:ext cx="3100041" cy="1951463"/>
          </a:xfrm>
          <a:prstGeom prst="r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057D9219-DF9D-BCB2-4A8C-A629D28BF6D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2746" y="349417"/>
            <a:ext cx="11822805" cy="1180762"/>
          </a:xfrm>
          <a:prstGeom prst="rect">
            <a:avLst/>
          </a:prstGeom>
        </p:spPr>
      </p:pic>
      <p:sp>
        <p:nvSpPr>
          <p:cNvPr id="2" name="Title Placeholder 1">
            <a:extLst>
              <a:ext uri="{FF2B5EF4-FFF2-40B4-BE49-F238E27FC236}">
                <a16:creationId xmlns:a16="http://schemas.microsoft.com/office/drawing/2014/main" id="{3FC5ABDE-7ACD-7E9A-C1F4-A5E8190A63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dirty="0"/>
              <a:t>Click to edit Master title style</a:t>
            </a:r>
          </a:p>
        </p:txBody>
      </p:sp>
      <p:sp>
        <p:nvSpPr>
          <p:cNvPr id="4" name="Date Placeholder 3">
            <a:extLst>
              <a:ext uri="{FF2B5EF4-FFF2-40B4-BE49-F238E27FC236}">
                <a16:creationId xmlns:a16="http://schemas.microsoft.com/office/drawing/2014/main" id="{4D088D84-9722-1989-7E11-5ED78DB9D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D8DCAF40-3A48-B870-60BB-35BC71D83E19}"/>
              </a:ext>
            </a:extLst>
          </p:cNvPr>
          <p:cNvSpPr>
            <a:spLocks noGrp="1"/>
          </p:cNvSpPr>
          <p:nvPr>
            <p:ph type="ftr" sz="quarter" idx="3"/>
          </p:nvPr>
        </p:nvSpPr>
        <p:spPr>
          <a:xfrm>
            <a:off x="3758184" y="6356350"/>
            <a:ext cx="4718304"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MMEC Proprietary  </a:t>
            </a:r>
            <a:endParaRPr lang="en-US" sz="800" dirty="0"/>
          </a:p>
        </p:txBody>
      </p:sp>
      <p:sp>
        <p:nvSpPr>
          <p:cNvPr id="6" name="Slide Number Placeholder 5">
            <a:extLst>
              <a:ext uri="{FF2B5EF4-FFF2-40B4-BE49-F238E27FC236}">
                <a16:creationId xmlns:a16="http://schemas.microsoft.com/office/drawing/2014/main" id="{DE402D3D-06C1-3910-CC08-136540233C3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B14FED-A694-DD4E-9C0F-10BD5455EBBF}" type="slidenum">
              <a:rPr lang="en-US" smtClean="0"/>
              <a:t>‹#›</a:t>
            </a:fld>
            <a:endParaRPr lang="en-US"/>
          </a:p>
        </p:txBody>
      </p:sp>
      <p:sp>
        <p:nvSpPr>
          <p:cNvPr id="3" name="Text Placeholder 2">
            <a:extLst>
              <a:ext uri="{FF2B5EF4-FFF2-40B4-BE49-F238E27FC236}">
                <a16:creationId xmlns:a16="http://schemas.microsoft.com/office/drawing/2014/main" id="{C66E7A99-2A8B-CE67-1A53-9C91D1C5ED00}"/>
              </a:ext>
            </a:extLst>
          </p:cNvPr>
          <p:cNvSpPr>
            <a:spLocks noGrp="1"/>
          </p:cNvSpPr>
          <p:nvPr>
            <p:ph type="body" idx="1"/>
          </p:nvPr>
        </p:nvSpPr>
        <p:spPr>
          <a:xfrm>
            <a:off x="838200" y="169068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627677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Lst>
  <p:hf hdr="0" dt="0"/>
  <p:txStyles>
    <p:titleStyle>
      <a:lvl1pPr algn="l" defTabSz="914400" rtl="0" eaLnBrk="1" latinLnBrk="0" hangingPunct="1">
        <a:lnSpc>
          <a:spcPct val="90000"/>
        </a:lnSpc>
        <a:spcBef>
          <a:spcPct val="0"/>
        </a:spcBef>
        <a:buNone/>
        <a:defRPr sz="3600" b="1" i="0" kern="1200">
          <a:solidFill>
            <a:schemeClr val="bg1"/>
          </a:solidFill>
          <a:latin typeface="Avenir Heavy" panose="02000503020000020003" pitchFamily="2"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bg1">
              <a:lumMod val="85000"/>
            </a:schemeClr>
          </a:solidFill>
          <a:latin typeface="Avenir Book" panose="02000503020000020003"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bg1">
              <a:lumMod val="85000"/>
            </a:schemeClr>
          </a:solidFill>
          <a:latin typeface="Avenir Book" panose="02000503020000020003"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bg1">
              <a:lumMod val="85000"/>
            </a:schemeClr>
          </a:solidFill>
          <a:latin typeface="Avenir Book" panose="02000503020000020003"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1">
              <a:lumMod val="85000"/>
            </a:schemeClr>
          </a:solidFill>
          <a:latin typeface="Avenir Book" panose="02000503020000020003"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1">
              <a:lumMod val="85000"/>
            </a:schemeClr>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65079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5/20/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217748077"/>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30.svg"/><Relationship Id="rId3" Type="http://schemas.openxmlformats.org/officeDocument/2006/relationships/image" Target="../media/image15.png"/><Relationship Id="rId21" Type="http://schemas.openxmlformats.org/officeDocument/2006/relationships/image" Target="../media/image33.jpeg"/><Relationship Id="rId7" Type="http://schemas.openxmlformats.org/officeDocument/2006/relationships/image" Target="../media/image19.png"/><Relationship Id="rId12" Type="http://schemas.openxmlformats.org/officeDocument/2006/relationships/image" Target="../media/image24.jpg"/><Relationship Id="rId17" Type="http://schemas.openxmlformats.org/officeDocument/2006/relationships/image" Target="../media/image29.png"/><Relationship Id="rId2" Type="http://schemas.openxmlformats.org/officeDocument/2006/relationships/image" Target="../media/image14.jpeg"/><Relationship Id="rId16" Type="http://schemas.openxmlformats.org/officeDocument/2006/relationships/image" Target="../media/image28.svg"/><Relationship Id="rId20" Type="http://schemas.openxmlformats.org/officeDocument/2006/relationships/image" Target="../media/image32.svg"/><Relationship Id="rId1" Type="http://schemas.openxmlformats.org/officeDocument/2006/relationships/slideLayout" Target="../slideLayouts/slideLayout7.xml"/><Relationship Id="rId6" Type="http://schemas.openxmlformats.org/officeDocument/2006/relationships/image" Target="../media/image18.svg"/><Relationship Id="rId11" Type="http://schemas.openxmlformats.org/officeDocument/2006/relationships/image" Target="../media/image23.png"/><Relationship Id="rId24" Type="http://schemas.openxmlformats.org/officeDocument/2006/relationships/image" Target="../media/image36.sv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10" Type="http://schemas.openxmlformats.org/officeDocument/2006/relationships/image" Target="../media/image22.svg"/><Relationship Id="rId19" Type="http://schemas.openxmlformats.org/officeDocument/2006/relationships/image" Target="../media/image31.png"/><Relationship Id="rId4" Type="http://schemas.openxmlformats.org/officeDocument/2006/relationships/image" Target="../media/image16.svg"/><Relationship Id="rId9" Type="http://schemas.openxmlformats.org/officeDocument/2006/relationships/image" Target="../media/image21.png"/><Relationship Id="rId14" Type="http://schemas.openxmlformats.org/officeDocument/2006/relationships/image" Target="../media/image26.svg"/><Relationship Id="rId22" Type="http://schemas.openxmlformats.org/officeDocument/2006/relationships/image" Target="../media/image34.jpg"/></Relationships>
</file>

<file path=ppt/slides/_rels/slide10.xml.rels><?xml version="1.0" encoding="UTF-8" standalone="yes"?>
<Relationships xmlns="http://schemas.openxmlformats.org/package/2006/relationships"><Relationship Id="rId8" Type="http://schemas.openxmlformats.org/officeDocument/2006/relationships/image" Target="../media/image66.emf"/><Relationship Id="rId13" Type="http://schemas.openxmlformats.org/officeDocument/2006/relationships/image" Target="../media/image71.emf"/><Relationship Id="rId3" Type="http://schemas.openxmlformats.org/officeDocument/2006/relationships/image" Target="../media/image64.svg"/><Relationship Id="rId7" Type="http://schemas.openxmlformats.org/officeDocument/2006/relationships/image" Target="../media/image65.emf"/><Relationship Id="rId12" Type="http://schemas.openxmlformats.org/officeDocument/2006/relationships/image" Target="../media/image70.emf"/><Relationship Id="rId2" Type="http://schemas.openxmlformats.org/officeDocument/2006/relationships/image" Target="../media/image59.png"/><Relationship Id="rId1" Type="http://schemas.openxmlformats.org/officeDocument/2006/relationships/slideLayout" Target="../slideLayouts/slideLayout41.xml"/><Relationship Id="rId6" Type="http://schemas.openxmlformats.org/officeDocument/2006/relationships/image" Target="../media/image63.png"/><Relationship Id="rId11" Type="http://schemas.openxmlformats.org/officeDocument/2006/relationships/image" Target="../media/image69.emf"/><Relationship Id="rId5" Type="http://schemas.openxmlformats.org/officeDocument/2006/relationships/image" Target="../media/image62.svg"/><Relationship Id="rId15" Type="http://schemas.openxmlformats.org/officeDocument/2006/relationships/image" Target="../media/image73.emf"/><Relationship Id="rId10" Type="http://schemas.openxmlformats.org/officeDocument/2006/relationships/image" Target="../media/image68.svg"/><Relationship Id="rId4" Type="http://schemas.openxmlformats.org/officeDocument/2006/relationships/image" Target="../media/image61.png"/><Relationship Id="rId9" Type="http://schemas.openxmlformats.org/officeDocument/2006/relationships/image" Target="../media/image67.png"/><Relationship Id="rId14" Type="http://schemas.openxmlformats.org/officeDocument/2006/relationships/image" Target="../media/image72.emf"/></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41.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svg"/></Relationships>
</file>

<file path=ppt/slides/_rels/slide12.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41.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svg"/><Relationship Id="rId9" Type="http://schemas.openxmlformats.org/officeDocument/2006/relationships/image" Target="../media/image75.png"/></Relationships>
</file>

<file path=ppt/slides/_rels/slide1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81.png"/><Relationship Id="rId3" Type="http://schemas.openxmlformats.org/officeDocument/2006/relationships/image" Target="../media/image76.jpeg"/><Relationship Id="rId7" Type="http://schemas.openxmlformats.org/officeDocument/2006/relationships/image" Target="../media/image77.png"/><Relationship Id="rId12" Type="http://schemas.microsoft.com/office/2007/relationships/hdphoto" Target="../media/hdphoto2.wdp"/><Relationship Id="rId17" Type="http://schemas.microsoft.com/office/2007/relationships/hdphoto" Target="../media/hdphoto3.wdp"/><Relationship Id="rId2" Type="http://schemas.openxmlformats.org/officeDocument/2006/relationships/notesSlide" Target="../notesSlides/notesSlide7.xml"/><Relationship Id="rId16" Type="http://schemas.openxmlformats.org/officeDocument/2006/relationships/image" Target="../media/image84.png"/><Relationship Id="rId1" Type="http://schemas.openxmlformats.org/officeDocument/2006/relationships/slideLayout" Target="../slideLayouts/slideLayout41.xml"/><Relationship Id="rId6" Type="http://schemas.openxmlformats.org/officeDocument/2006/relationships/image" Target="../media/image63.png"/><Relationship Id="rId11" Type="http://schemas.openxmlformats.org/officeDocument/2006/relationships/image" Target="../media/image80.png"/><Relationship Id="rId5" Type="http://schemas.openxmlformats.org/officeDocument/2006/relationships/image" Target="../media/image62.svg"/><Relationship Id="rId15" Type="http://schemas.openxmlformats.org/officeDocument/2006/relationships/image" Target="../media/image83.png"/><Relationship Id="rId10" Type="http://schemas.openxmlformats.org/officeDocument/2006/relationships/image" Target="../media/image79.svg"/><Relationship Id="rId4" Type="http://schemas.openxmlformats.org/officeDocument/2006/relationships/image" Target="../media/image61.png"/><Relationship Id="rId9" Type="http://schemas.openxmlformats.org/officeDocument/2006/relationships/image" Target="../media/image78.png"/><Relationship Id="rId14" Type="http://schemas.openxmlformats.org/officeDocument/2006/relationships/image" Target="../media/image82.png"/></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76.jpeg"/><Relationship Id="rId7" Type="http://schemas.openxmlformats.org/officeDocument/2006/relationships/diagramData" Target="../diagrams/data1.xml"/><Relationship Id="rId2" Type="http://schemas.openxmlformats.org/officeDocument/2006/relationships/notesSlide" Target="../notesSlides/notesSlide8.xml"/><Relationship Id="rId1" Type="http://schemas.openxmlformats.org/officeDocument/2006/relationships/slideLayout" Target="../slideLayouts/slideLayout41.xml"/><Relationship Id="rId6" Type="http://schemas.openxmlformats.org/officeDocument/2006/relationships/image" Target="../media/image63.png"/><Relationship Id="rId11" Type="http://schemas.microsoft.com/office/2007/relationships/diagramDrawing" Target="../diagrams/drawing1.xml"/><Relationship Id="rId5" Type="http://schemas.openxmlformats.org/officeDocument/2006/relationships/image" Target="../media/image62.svg"/><Relationship Id="rId10" Type="http://schemas.openxmlformats.org/officeDocument/2006/relationships/diagramColors" Target="../diagrams/colors1.xml"/><Relationship Id="rId4" Type="http://schemas.openxmlformats.org/officeDocument/2006/relationships/image" Target="../media/image61.png"/><Relationship Id="rId9"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8" Type="http://schemas.openxmlformats.org/officeDocument/2006/relationships/image" Target="../media/image87.svg"/><Relationship Id="rId13" Type="http://schemas.openxmlformats.org/officeDocument/2006/relationships/image" Target="../media/image92.png"/><Relationship Id="rId18" Type="http://schemas.openxmlformats.org/officeDocument/2006/relationships/image" Target="../media/image97.svg"/><Relationship Id="rId3" Type="http://schemas.openxmlformats.org/officeDocument/2006/relationships/image" Target="../media/image85.svg"/><Relationship Id="rId7" Type="http://schemas.openxmlformats.org/officeDocument/2006/relationships/image" Target="../media/image86.png"/><Relationship Id="rId12" Type="http://schemas.openxmlformats.org/officeDocument/2006/relationships/image" Target="../media/image91.svg"/><Relationship Id="rId17" Type="http://schemas.openxmlformats.org/officeDocument/2006/relationships/image" Target="../media/image96.png"/><Relationship Id="rId2" Type="http://schemas.openxmlformats.org/officeDocument/2006/relationships/image" Target="../media/image59.png"/><Relationship Id="rId16" Type="http://schemas.openxmlformats.org/officeDocument/2006/relationships/image" Target="../media/image95.svg"/><Relationship Id="rId20" Type="http://schemas.openxmlformats.org/officeDocument/2006/relationships/image" Target="../media/image99.svg"/><Relationship Id="rId1" Type="http://schemas.openxmlformats.org/officeDocument/2006/relationships/slideLayout" Target="../slideLayouts/slideLayout41.xml"/><Relationship Id="rId6" Type="http://schemas.openxmlformats.org/officeDocument/2006/relationships/image" Target="../media/image63.png"/><Relationship Id="rId11" Type="http://schemas.openxmlformats.org/officeDocument/2006/relationships/image" Target="../media/image90.png"/><Relationship Id="rId5" Type="http://schemas.openxmlformats.org/officeDocument/2006/relationships/image" Target="../media/image62.svg"/><Relationship Id="rId15" Type="http://schemas.openxmlformats.org/officeDocument/2006/relationships/image" Target="../media/image94.png"/><Relationship Id="rId10" Type="http://schemas.openxmlformats.org/officeDocument/2006/relationships/image" Target="../media/image89.svg"/><Relationship Id="rId19" Type="http://schemas.openxmlformats.org/officeDocument/2006/relationships/image" Target="../media/image98.png"/><Relationship Id="rId4" Type="http://schemas.openxmlformats.org/officeDocument/2006/relationships/image" Target="../media/image61.png"/><Relationship Id="rId9" Type="http://schemas.openxmlformats.org/officeDocument/2006/relationships/image" Target="../media/image88.png"/><Relationship Id="rId14" Type="http://schemas.openxmlformats.org/officeDocument/2006/relationships/image" Target="../media/image93.svg"/></Relationships>
</file>

<file path=ppt/slides/_rels/slide16.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9.png"/><Relationship Id="rId7" Type="http://schemas.openxmlformats.org/officeDocument/2006/relationships/image" Target="../media/image61.png"/><Relationship Id="rId2" Type="http://schemas.openxmlformats.org/officeDocument/2006/relationships/notesSlide" Target="../notesSlides/notesSlide9.xml"/><Relationship Id="rId1" Type="http://schemas.openxmlformats.org/officeDocument/2006/relationships/slideLayout" Target="../slideLayouts/slideLayout41.xml"/><Relationship Id="rId6" Type="http://schemas.openxmlformats.org/officeDocument/2006/relationships/hyperlink" Target="mailto:nnme@semi.org" TargetMode="External"/><Relationship Id="rId5" Type="http://schemas.openxmlformats.org/officeDocument/2006/relationships/image" Target="../media/image63.png"/><Relationship Id="rId4" Type="http://schemas.openxmlformats.org/officeDocument/2006/relationships/image" Target="../media/image85.svg"/></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76.jpeg"/><Relationship Id="rId1" Type="http://schemas.openxmlformats.org/officeDocument/2006/relationships/slideLayout" Target="../slideLayouts/slideLayout41.xml"/><Relationship Id="rId5" Type="http://schemas.openxmlformats.org/officeDocument/2006/relationships/image" Target="../media/image63.png"/><Relationship Id="rId4" Type="http://schemas.openxmlformats.org/officeDocument/2006/relationships/image" Target="../media/image100.jpeg"/></Relationships>
</file>

<file path=ppt/slides/_rels/slide1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09.jpeg"/><Relationship Id="rId2" Type="http://schemas.openxmlformats.org/officeDocument/2006/relationships/diagramData" Target="../diagrams/data2.xml"/><Relationship Id="rId1" Type="http://schemas.openxmlformats.org/officeDocument/2006/relationships/slideLayout" Target="../slideLayouts/slideLayout3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image" Target="../media/image14.jpeg"/><Relationship Id="rId16" Type="http://schemas.openxmlformats.org/officeDocument/2006/relationships/image" Target="../media/image46.svg"/><Relationship Id="rId20" Type="http://schemas.openxmlformats.org/officeDocument/2006/relationships/image" Target="../media/image33.jpeg"/><Relationship Id="rId1" Type="http://schemas.openxmlformats.org/officeDocument/2006/relationships/slideLayout" Target="../slideLayouts/slideLayout7.xml"/><Relationship Id="rId6" Type="http://schemas.openxmlformats.org/officeDocument/2006/relationships/image" Target="../media/image40.svg"/><Relationship Id="rId11" Type="http://schemas.openxmlformats.org/officeDocument/2006/relationships/image" Target="../media/image25.png"/><Relationship Id="rId5" Type="http://schemas.openxmlformats.org/officeDocument/2006/relationships/image" Target="../media/image39.png"/><Relationship Id="rId15" Type="http://schemas.openxmlformats.org/officeDocument/2006/relationships/image" Target="../media/image45.png"/><Relationship Id="rId10" Type="http://schemas.openxmlformats.org/officeDocument/2006/relationships/image" Target="../media/image44.svg"/><Relationship Id="rId19" Type="http://schemas.openxmlformats.org/officeDocument/2006/relationships/image" Target="../media/image47.png"/><Relationship Id="rId4" Type="http://schemas.openxmlformats.org/officeDocument/2006/relationships/image" Target="../media/image38.svg"/><Relationship Id="rId9" Type="http://schemas.openxmlformats.org/officeDocument/2006/relationships/image" Target="../media/image43.png"/><Relationship Id="rId14" Type="http://schemas.openxmlformats.org/officeDocument/2006/relationships/image" Target="../media/image28.svg"/></Relationships>
</file>

<file path=ppt/slides/_rels/slide2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111.jpeg"/><Relationship Id="rId1" Type="http://schemas.openxmlformats.org/officeDocument/2006/relationships/slideLayout" Target="../slideLayouts/slideLayout3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5.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122.png"/><Relationship Id="rId1" Type="http://schemas.openxmlformats.org/officeDocument/2006/relationships/slideLayout" Target="../slideLayouts/slideLayout36.xml"/><Relationship Id="rId5" Type="http://schemas.openxmlformats.org/officeDocument/2006/relationships/image" Target="../media/image125.jpeg"/><Relationship Id="rId4" Type="http://schemas.openxmlformats.org/officeDocument/2006/relationships/image" Target="../media/image124.png"/></Relationships>
</file>

<file path=ppt/slides/_rels/slide26.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6.png"/><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0.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8.xml.rels><?xml version="1.0" encoding="UTF-8" standalone="yes"?>
<Relationships xmlns="http://schemas.openxmlformats.org/package/2006/relationships"><Relationship Id="rId3" Type="http://schemas.openxmlformats.org/officeDocument/2006/relationships/image" Target="../media/image129.svg"/><Relationship Id="rId2" Type="http://schemas.openxmlformats.org/officeDocument/2006/relationships/image" Target="../media/image128.png"/><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2" Type="http://schemas.openxmlformats.org/officeDocument/2006/relationships/image" Target="../media/image130.jpe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image" Target="../media/image14.jpeg"/><Relationship Id="rId16" Type="http://schemas.openxmlformats.org/officeDocument/2006/relationships/image" Target="../media/image46.svg"/><Relationship Id="rId1" Type="http://schemas.openxmlformats.org/officeDocument/2006/relationships/slideLayout" Target="../slideLayouts/slideLayout7.xml"/><Relationship Id="rId6" Type="http://schemas.openxmlformats.org/officeDocument/2006/relationships/image" Target="../media/image40.svg"/><Relationship Id="rId11" Type="http://schemas.openxmlformats.org/officeDocument/2006/relationships/image" Target="../media/image25.png"/><Relationship Id="rId5" Type="http://schemas.openxmlformats.org/officeDocument/2006/relationships/image" Target="../media/image39.png"/><Relationship Id="rId15" Type="http://schemas.openxmlformats.org/officeDocument/2006/relationships/image" Target="../media/image45.png"/><Relationship Id="rId10" Type="http://schemas.openxmlformats.org/officeDocument/2006/relationships/image" Target="../media/image44.svg"/><Relationship Id="rId19" Type="http://schemas.openxmlformats.org/officeDocument/2006/relationships/image" Target="../media/image33.jpeg"/><Relationship Id="rId4" Type="http://schemas.openxmlformats.org/officeDocument/2006/relationships/image" Target="../media/image38.svg"/><Relationship Id="rId9" Type="http://schemas.openxmlformats.org/officeDocument/2006/relationships/image" Target="../media/image43.png"/><Relationship Id="rId14" Type="http://schemas.openxmlformats.org/officeDocument/2006/relationships/image" Target="../media/image28.svg"/></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1.xml.rels><?xml version="1.0" encoding="UTF-8" standalone="yes"?>
<Relationships xmlns="http://schemas.openxmlformats.org/package/2006/relationships"><Relationship Id="rId3" Type="http://schemas.openxmlformats.org/officeDocument/2006/relationships/image" Target="../media/image132.svg"/><Relationship Id="rId2" Type="http://schemas.openxmlformats.org/officeDocument/2006/relationships/image" Target="../media/image131.png"/><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2" Type="http://schemas.openxmlformats.org/officeDocument/2006/relationships/hyperlink" Target="mailto:bdoudican@greeneccc.com" TargetMode="Externa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1.png"/><Relationship Id="rId3" Type="http://schemas.openxmlformats.org/officeDocument/2006/relationships/image" Target="../media/image41.png"/><Relationship Id="rId7" Type="http://schemas.openxmlformats.org/officeDocument/2006/relationships/image" Target="../media/image25.png"/><Relationship Id="rId12" Type="http://schemas.openxmlformats.org/officeDocument/2006/relationships/image" Target="../media/image46.svg"/><Relationship Id="rId17" Type="http://schemas.openxmlformats.org/officeDocument/2006/relationships/image" Target="../media/image134.png"/><Relationship Id="rId2" Type="http://schemas.openxmlformats.org/officeDocument/2006/relationships/image" Target="../media/image14.jpeg"/><Relationship Id="rId16" Type="http://schemas.openxmlformats.org/officeDocument/2006/relationships/image" Target="../media/image133.jpeg"/><Relationship Id="rId1" Type="http://schemas.openxmlformats.org/officeDocument/2006/relationships/slideLayout" Target="../slideLayouts/slideLayout7.xml"/><Relationship Id="rId6" Type="http://schemas.openxmlformats.org/officeDocument/2006/relationships/image" Target="../media/image44.svg"/><Relationship Id="rId11" Type="http://schemas.openxmlformats.org/officeDocument/2006/relationships/image" Target="../media/image45.png"/><Relationship Id="rId5" Type="http://schemas.openxmlformats.org/officeDocument/2006/relationships/image" Target="../media/image43.png"/><Relationship Id="rId15" Type="http://schemas.openxmlformats.org/officeDocument/2006/relationships/image" Target="../media/image33.jpeg"/><Relationship Id="rId10" Type="http://schemas.openxmlformats.org/officeDocument/2006/relationships/image" Target="../media/image28.svg"/><Relationship Id="rId4" Type="http://schemas.openxmlformats.org/officeDocument/2006/relationships/image" Target="../media/image42.svg"/><Relationship Id="rId9" Type="http://schemas.openxmlformats.org/officeDocument/2006/relationships/image" Target="../media/image27.png"/><Relationship Id="rId14" Type="http://schemas.openxmlformats.org/officeDocument/2006/relationships/image" Target="../media/image32.svg"/></Relationships>
</file>

<file path=ppt/slides/_rels/slide4.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28.svg"/><Relationship Id="rId18" Type="http://schemas.openxmlformats.org/officeDocument/2006/relationships/image" Target="../media/image33.jpeg"/><Relationship Id="rId3" Type="http://schemas.openxmlformats.org/officeDocument/2006/relationships/image" Target="../media/image14.jpeg"/><Relationship Id="rId7" Type="http://schemas.openxmlformats.org/officeDocument/2006/relationships/image" Target="../media/image42.svg"/><Relationship Id="rId12" Type="http://schemas.openxmlformats.org/officeDocument/2006/relationships/image" Target="../media/image27.png"/><Relationship Id="rId17" Type="http://schemas.openxmlformats.org/officeDocument/2006/relationships/image" Target="../media/image32.svg"/><Relationship Id="rId2" Type="http://schemas.openxmlformats.org/officeDocument/2006/relationships/notesSlide" Target="../notesSlides/notesSlide1.xml"/><Relationship Id="rId16" Type="http://schemas.openxmlformats.org/officeDocument/2006/relationships/image" Target="../media/image31.png"/><Relationship Id="rId1" Type="http://schemas.openxmlformats.org/officeDocument/2006/relationships/slideLayout" Target="../slideLayouts/slideLayout7.xml"/><Relationship Id="rId6" Type="http://schemas.openxmlformats.org/officeDocument/2006/relationships/image" Target="../media/image41.png"/><Relationship Id="rId11" Type="http://schemas.openxmlformats.org/officeDocument/2006/relationships/image" Target="../media/image26.svg"/><Relationship Id="rId5" Type="http://schemas.openxmlformats.org/officeDocument/2006/relationships/image" Target="../media/image38.svg"/><Relationship Id="rId15" Type="http://schemas.openxmlformats.org/officeDocument/2006/relationships/image" Target="../media/image46.svg"/><Relationship Id="rId10" Type="http://schemas.openxmlformats.org/officeDocument/2006/relationships/image" Target="../media/image25.png"/><Relationship Id="rId4" Type="http://schemas.openxmlformats.org/officeDocument/2006/relationships/image" Target="../media/image37.png"/><Relationship Id="rId9" Type="http://schemas.openxmlformats.org/officeDocument/2006/relationships/image" Target="../media/image44.svg"/><Relationship Id="rId14" Type="http://schemas.openxmlformats.org/officeDocument/2006/relationships/image" Target="../media/image45.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46.svg"/><Relationship Id="rId18" Type="http://schemas.openxmlformats.org/officeDocument/2006/relationships/hyperlink" Target="https://ohiotechnet.org/our-consortium/10-year-celebration/" TargetMode="External"/><Relationship Id="rId3" Type="http://schemas.openxmlformats.org/officeDocument/2006/relationships/image" Target="../media/image14.jpeg"/><Relationship Id="rId7" Type="http://schemas.openxmlformats.org/officeDocument/2006/relationships/image" Target="../media/image44.svg"/><Relationship Id="rId12" Type="http://schemas.openxmlformats.org/officeDocument/2006/relationships/image" Target="../media/image45.png"/><Relationship Id="rId17" Type="http://schemas.openxmlformats.org/officeDocument/2006/relationships/image" Target="../media/image48.png"/><Relationship Id="rId2" Type="http://schemas.openxmlformats.org/officeDocument/2006/relationships/notesSlide" Target="../notesSlides/notesSlide2.xml"/><Relationship Id="rId16" Type="http://schemas.openxmlformats.org/officeDocument/2006/relationships/image" Target="../media/image33.jpeg"/><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28.svg"/><Relationship Id="rId5" Type="http://schemas.openxmlformats.org/officeDocument/2006/relationships/image" Target="../media/image42.svg"/><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49.png"/><Relationship Id="rId4" Type="http://schemas.openxmlformats.org/officeDocument/2006/relationships/image" Target="../media/image41.png"/><Relationship Id="rId9" Type="http://schemas.openxmlformats.org/officeDocument/2006/relationships/image" Target="../media/image26.svg"/><Relationship Id="rId14" Type="http://schemas.openxmlformats.org/officeDocument/2006/relationships/image" Target="../media/image31.png"/></Relationships>
</file>

<file path=ppt/slides/_rels/slide6.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4.jpeg"/><Relationship Id="rId7" Type="http://schemas.openxmlformats.org/officeDocument/2006/relationships/image" Target="../media/image4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3.xml"/><Relationship Id="rId16" Type="http://schemas.openxmlformats.org/officeDocument/2006/relationships/image" Target="../media/image46.svg"/><Relationship Id="rId20"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hyperlink" Target="https://www.linkedin.com/company/ohio-technet/?viewAsMember=true" TargetMode="External"/><Relationship Id="rId11" Type="http://schemas.openxmlformats.org/officeDocument/2006/relationships/image" Target="../media/image25.png"/><Relationship Id="rId5" Type="http://schemas.openxmlformats.org/officeDocument/2006/relationships/image" Target="../media/image38.svg"/><Relationship Id="rId15" Type="http://schemas.openxmlformats.org/officeDocument/2006/relationships/image" Target="../media/image45.png"/><Relationship Id="rId10" Type="http://schemas.openxmlformats.org/officeDocument/2006/relationships/image" Target="../media/image44.svg"/><Relationship Id="rId19" Type="http://schemas.openxmlformats.org/officeDocument/2006/relationships/image" Target="../media/image33.jpeg"/><Relationship Id="rId4" Type="http://schemas.openxmlformats.org/officeDocument/2006/relationships/image" Target="../media/image37.png"/><Relationship Id="rId9" Type="http://schemas.openxmlformats.org/officeDocument/2006/relationships/image" Target="../media/image43.png"/><Relationship Id="rId14" Type="http://schemas.openxmlformats.org/officeDocument/2006/relationships/image" Target="../media/image28.sv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6.svg"/><Relationship Id="rId18" Type="http://schemas.openxmlformats.org/officeDocument/2006/relationships/image" Target="../media/image33.jpeg"/><Relationship Id="rId3" Type="http://schemas.openxmlformats.org/officeDocument/2006/relationships/image" Target="../media/image52.svg"/><Relationship Id="rId7" Type="http://schemas.openxmlformats.org/officeDocument/2006/relationships/image" Target="../media/image42.svg"/><Relationship Id="rId12" Type="http://schemas.openxmlformats.org/officeDocument/2006/relationships/image" Target="../media/image25.png"/><Relationship Id="rId17" Type="http://schemas.openxmlformats.org/officeDocument/2006/relationships/image" Target="../media/image32.svg"/><Relationship Id="rId2" Type="http://schemas.openxmlformats.org/officeDocument/2006/relationships/image" Target="../media/image51.png"/><Relationship Id="rId16" Type="http://schemas.openxmlformats.org/officeDocument/2006/relationships/image" Target="../media/image31.png"/><Relationship Id="rId1" Type="http://schemas.openxmlformats.org/officeDocument/2006/relationships/slideLayout" Target="../slideLayouts/slideLayout7.xml"/><Relationship Id="rId6" Type="http://schemas.openxmlformats.org/officeDocument/2006/relationships/image" Target="../media/image41.png"/><Relationship Id="rId11" Type="http://schemas.openxmlformats.org/officeDocument/2006/relationships/image" Target="../media/image20.svg"/><Relationship Id="rId5" Type="http://schemas.openxmlformats.org/officeDocument/2006/relationships/image" Target="../media/image54.jpeg"/><Relationship Id="rId15" Type="http://schemas.openxmlformats.org/officeDocument/2006/relationships/image" Target="../media/image46.svg"/><Relationship Id="rId10" Type="http://schemas.openxmlformats.org/officeDocument/2006/relationships/image" Target="../media/image19.png"/><Relationship Id="rId4" Type="http://schemas.openxmlformats.org/officeDocument/2006/relationships/image" Target="../media/image53.jpg"/><Relationship Id="rId9" Type="http://schemas.openxmlformats.org/officeDocument/2006/relationships/image" Target="../media/image16.sv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4.xml"/><Relationship Id="rId1" Type="http://schemas.openxmlformats.org/officeDocument/2006/relationships/slideLayout" Target="../slideLayouts/slideLayout41.xml"/><Relationship Id="rId6" Type="http://schemas.openxmlformats.org/officeDocument/2006/relationships/image" Target="../media/image58.png"/><Relationship Id="rId5" Type="http://schemas.openxmlformats.org/officeDocument/2006/relationships/image" Target="../media/image57.jpeg"/><Relationship Id="rId4" Type="http://schemas.openxmlformats.org/officeDocument/2006/relationships/image" Target="../media/image56.png"/></Relationships>
</file>

<file path=ppt/slides/_rels/slide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41.xml"/><Relationship Id="rId6" Type="http://schemas.openxmlformats.org/officeDocument/2006/relationships/image" Target="../media/image63.png"/><Relationship Id="rId5" Type="http://schemas.openxmlformats.org/officeDocument/2006/relationships/image" Target="../media/image62.svg"/><Relationship Id="rId4"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33638" y="-55324"/>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t="-18444"/>
            </a:stretch>
          </a:blipFill>
        </p:spPr>
      </p:sp>
      <p:grpSp>
        <p:nvGrpSpPr>
          <p:cNvPr id="3" name="Group 3"/>
          <p:cNvGrpSpPr/>
          <p:nvPr/>
        </p:nvGrpSpPr>
        <p:grpSpPr>
          <a:xfrm>
            <a:off x="6369669" y="3633445"/>
            <a:ext cx="7808195" cy="6493088"/>
            <a:chOff x="0" y="0"/>
            <a:chExt cx="676659" cy="562692"/>
          </a:xfrm>
        </p:grpSpPr>
        <p:sp>
          <p:nvSpPr>
            <p:cNvPr id="4" name="Freeform 4"/>
            <p:cNvSpPr/>
            <p:nvPr/>
          </p:nvSpPr>
          <p:spPr>
            <a:xfrm>
              <a:off x="0" y="0"/>
              <a:ext cx="676659" cy="562692"/>
            </a:xfrm>
            <a:custGeom>
              <a:avLst/>
              <a:gdLst/>
              <a:ahLst/>
              <a:cxnLst/>
              <a:rect l="l" t="t" r="r" b="b"/>
              <a:pathLst>
                <a:path w="676659" h="562692">
                  <a:moveTo>
                    <a:pt x="676659" y="281346"/>
                  </a:moveTo>
                  <a:lnTo>
                    <a:pt x="473459" y="562692"/>
                  </a:lnTo>
                  <a:lnTo>
                    <a:pt x="203200" y="562692"/>
                  </a:lnTo>
                  <a:lnTo>
                    <a:pt x="0" y="281346"/>
                  </a:lnTo>
                  <a:lnTo>
                    <a:pt x="203200" y="0"/>
                  </a:lnTo>
                  <a:lnTo>
                    <a:pt x="473459" y="0"/>
                  </a:lnTo>
                  <a:lnTo>
                    <a:pt x="676659" y="281346"/>
                  </a:lnTo>
                  <a:close/>
                </a:path>
              </a:pathLst>
            </a:custGeom>
            <a:solidFill>
              <a:srgbClr val="A10D00"/>
            </a:solidFill>
          </p:spPr>
        </p:sp>
        <p:sp>
          <p:nvSpPr>
            <p:cNvPr id="5" name="TextBox 5"/>
            <p:cNvSpPr txBox="1"/>
            <p:nvPr/>
          </p:nvSpPr>
          <p:spPr>
            <a:xfrm>
              <a:off x="114300" y="-57150"/>
              <a:ext cx="448059" cy="619842"/>
            </a:xfrm>
            <a:prstGeom prst="rect">
              <a:avLst/>
            </a:prstGeom>
          </p:spPr>
          <p:txBody>
            <a:bodyPr lIns="33867" tIns="33867" rIns="33867" bIns="33867" rtlCol="0" anchor="ctr"/>
            <a:lstStyle/>
            <a:p>
              <a:pPr algn="ctr">
                <a:lnSpc>
                  <a:spcPts val="2333"/>
                </a:lnSpc>
              </a:pPr>
              <a:endParaRPr sz="1200"/>
            </a:p>
          </p:txBody>
        </p:sp>
      </p:grpSp>
      <p:grpSp>
        <p:nvGrpSpPr>
          <p:cNvPr id="6" name="Group 6"/>
          <p:cNvGrpSpPr/>
          <p:nvPr/>
        </p:nvGrpSpPr>
        <p:grpSpPr>
          <a:xfrm>
            <a:off x="5585251" y="-676051"/>
            <a:ext cx="13846779" cy="7010703"/>
            <a:chOff x="0" y="0"/>
            <a:chExt cx="561152" cy="282796"/>
          </a:xfrm>
        </p:grpSpPr>
        <p:sp>
          <p:nvSpPr>
            <p:cNvPr id="7" name="Freeform 7"/>
            <p:cNvSpPr/>
            <p:nvPr/>
          </p:nvSpPr>
          <p:spPr>
            <a:xfrm>
              <a:off x="0" y="0"/>
              <a:ext cx="561152" cy="282796"/>
            </a:xfrm>
            <a:custGeom>
              <a:avLst/>
              <a:gdLst/>
              <a:ahLst/>
              <a:cxnLst/>
              <a:rect l="l" t="t" r="r" b="b"/>
              <a:pathLst>
                <a:path w="561152" h="282796">
                  <a:moveTo>
                    <a:pt x="203200" y="282796"/>
                  </a:moveTo>
                  <a:lnTo>
                    <a:pt x="357952" y="282796"/>
                  </a:lnTo>
                  <a:lnTo>
                    <a:pt x="561152" y="0"/>
                  </a:lnTo>
                  <a:lnTo>
                    <a:pt x="0" y="0"/>
                  </a:lnTo>
                  <a:lnTo>
                    <a:pt x="203200" y="282796"/>
                  </a:lnTo>
                  <a:close/>
                </a:path>
              </a:pathLst>
            </a:custGeom>
            <a:solidFill>
              <a:srgbClr val="B51F19"/>
            </a:solidFill>
            <a:ln cap="sq">
              <a:noFill/>
              <a:prstDash val="solid"/>
              <a:miter/>
            </a:ln>
          </p:spPr>
        </p:sp>
        <p:sp>
          <p:nvSpPr>
            <p:cNvPr id="8" name="TextBox 8"/>
            <p:cNvSpPr txBox="1"/>
            <p:nvPr/>
          </p:nvSpPr>
          <p:spPr>
            <a:xfrm>
              <a:off x="127000" y="-57150"/>
              <a:ext cx="307152" cy="339946"/>
            </a:xfrm>
            <a:prstGeom prst="rect">
              <a:avLst/>
            </a:prstGeom>
          </p:spPr>
          <p:txBody>
            <a:bodyPr lIns="33867" tIns="33867" rIns="33867" bIns="33867" rtlCol="0" anchor="ctr"/>
            <a:lstStyle/>
            <a:p>
              <a:pPr algn="ctr">
                <a:lnSpc>
                  <a:spcPts val="2333"/>
                </a:lnSpc>
              </a:pPr>
              <a:endParaRPr sz="1200"/>
            </a:p>
          </p:txBody>
        </p:sp>
      </p:grpSp>
      <p:sp>
        <p:nvSpPr>
          <p:cNvPr id="9" name="Freeform 9"/>
          <p:cNvSpPr/>
          <p:nvPr/>
        </p:nvSpPr>
        <p:spPr>
          <a:xfrm rot="5400000">
            <a:off x="10777940" y="767467"/>
            <a:ext cx="1513893" cy="599873"/>
          </a:xfrm>
          <a:custGeom>
            <a:avLst/>
            <a:gdLst/>
            <a:ahLst/>
            <a:cxnLst/>
            <a:rect l="l" t="t" r="r" b="b"/>
            <a:pathLst>
              <a:path w="2270840" h="899810">
                <a:moveTo>
                  <a:pt x="0" y="0"/>
                </a:moveTo>
                <a:lnTo>
                  <a:pt x="2270840" y="0"/>
                </a:lnTo>
                <a:lnTo>
                  <a:pt x="2270840" y="899811"/>
                </a:lnTo>
                <a:lnTo>
                  <a:pt x="0" y="899811"/>
                </a:lnTo>
                <a:lnTo>
                  <a:pt x="0" y="0"/>
                </a:lnTo>
                <a:close/>
              </a:path>
            </a:pathLst>
          </a:custGeom>
          <a:blipFill>
            <a:blip r:embed="rId3">
              <a:extLst>
                <a:ext uri="{96DAC541-7B7A-43D3-8B79-37D633B846F1}">
                  <asvg:svgBlip xmlns:asvg="http://schemas.microsoft.com/office/drawing/2016/SVG/main" r:embed="rId4"/>
                </a:ext>
              </a:extLst>
            </a:blip>
            <a:stretch>
              <a:fillRect t="-20273" r="-21421"/>
            </a:stretch>
          </a:blipFill>
        </p:spPr>
      </p:sp>
      <p:sp>
        <p:nvSpPr>
          <p:cNvPr id="10" name="Freeform 10"/>
          <p:cNvSpPr/>
          <p:nvPr/>
        </p:nvSpPr>
        <p:spPr>
          <a:xfrm>
            <a:off x="5180437" y="6017978"/>
            <a:ext cx="590653" cy="357837"/>
          </a:xfrm>
          <a:custGeom>
            <a:avLst/>
            <a:gdLst/>
            <a:ahLst/>
            <a:cxnLst/>
            <a:rect l="l" t="t" r="r" b="b"/>
            <a:pathLst>
              <a:path w="885980" h="536756">
                <a:moveTo>
                  <a:pt x="0" y="0"/>
                </a:moveTo>
                <a:lnTo>
                  <a:pt x="885980" y="0"/>
                </a:lnTo>
                <a:lnTo>
                  <a:pt x="885980" y="536756"/>
                </a:lnTo>
                <a:lnTo>
                  <a:pt x="0" y="5367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1" name="Freeform 11"/>
          <p:cNvSpPr/>
          <p:nvPr/>
        </p:nvSpPr>
        <p:spPr>
          <a:xfrm>
            <a:off x="3151905" y="5746852"/>
            <a:ext cx="590653" cy="357837"/>
          </a:xfrm>
          <a:custGeom>
            <a:avLst/>
            <a:gdLst/>
            <a:ahLst/>
            <a:cxnLst/>
            <a:rect l="l" t="t" r="r" b="b"/>
            <a:pathLst>
              <a:path w="885980" h="536756">
                <a:moveTo>
                  <a:pt x="0" y="0"/>
                </a:moveTo>
                <a:lnTo>
                  <a:pt x="885980" y="0"/>
                </a:lnTo>
                <a:lnTo>
                  <a:pt x="885980" y="536756"/>
                </a:lnTo>
                <a:lnTo>
                  <a:pt x="0" y="5367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12" name="Group 12"/>
          <p:cNvGrpSpPr/>
          <p:nvPr/>
        </p:nvGrpSpPr>
        <p:grpSpPr>
          <a:xfrm>
            <a:off x="3469563" y="5848938"/>
            <a:ext cx="1890355" cy="436249"/>
            <a:chOff x="-6067" y="169970"/>
            <a:chExt cx="1310561" cy="282928"/>
          </a:xfrm>
        </p:grpSpPr>
        <p:sp>
          <p:nvSpPr>
            <p:cNvPr id="13" name="Freeform 13"/>
            <p:cNvSpPr/>
            <p:nvPr/>
          </p:nvSpPr>
          <p:spPr>
            <a:xfrm>
              <a:off x="-6067" y="203669"/>
              <a:ext cx="1304494" cy="225778"/>
            </a:xfrm>
            <a:custGeom>
              <a:avLst/>
              <a:gdLst/>
              <a:ahLst/>
              <a:cxnLst/>
              <a:rect l="l" t="t" r="r" b="b"/>
              <a:pathLst>
                <a:path w="1304494" h="225778">
                  <a:moveTo>
                    <a:pt x="0" y="0"/>
                  </a:moveTo>
                  <a:lnTo>
                    <a:pt x="1304494" y="0"/>
                  </a:lnTo>
                  <a:lnTo>
                    <a:pt x="1304494" y="225778"/>
                  </a:lnTo>
                  <a:lnTo>
                    <a:pt x="0" y="225778"/>
                  </a:lnTo>
                  <a:close/>
                </a:path>
              </a:pathLst>
            </a:custGeom>
            <a:solidFill>
              <a:srgbClr val="B51F19"/>
            </a:solidFill>
          </p:spPr>
        </p:sp>
        <p:sp>
          <p:nvSpPr>
            <p:cNvPr id="34" name="TextBox 14">
              <a:extLst>
                <a:ext uri="{FF2B5EF4-FFF2-40B4-BE49-F238E27FC236}">
                  <a16:creationId xmlns:a16="http://schemas.microsoft.com/office/drawing/2014/main" id="{D66A0C6B-180A-4EFB-8BAB-DDCEA130D808}"/>
                </a:ext>
              </a:extLst>
            </p:cNvPr>
            <p:cNvSpPr txBox="1"/>
            <p:nvPr/>
          </p:nvSpPr>
          <p:spPr>
            <a:xfrm>
              <a:off x="0" y="169970"/>
              <a:ext cx="1304494" cy="282928"/>
            </a:xfrm>
            <a:prstGeom prst="rect">
              <a:avLst/>
            </a:prstGeom>
          </p:spPr>
          <p:txBody>
            <a:bodyPr lIns="33867" tIns="33867" rIns="33867" bIns="33867" rtlCol="0" anchor="ctr"/>
            <a:lstStyle/>
            <a:p>
              <a:pPr algn="ctr">
                <a:lnSpc>
                  <a:spcPts val="2333"/>
                </a:lnSpc>
              </a:pPr>
              <a:r>
                <a:rPr lang="en-US" sz="1200" dirty="0">
                  <a:solidFill>
                    <a:srgbClr val="FFFFFF"/>
                  </a:solidFill>
                  <a:latin typeface="Public Sans"/>
                  <a:ea typeface="Public Sans"/>
                  <a:cs typeface="Public Sans"/>
                  <a:sym typeface="Public Sans"/>
                </a:rPr>
                <a:t>www.ohiotechnet.org</a:t>
              </a:r>
            </a:p>
          </p:txBody>
        </p:sp>
      </p:grpSp>
      <p:sp>
        <p:nvSpPr>
          <p:cNvPr id="16" name="Freeform 16"/>
          <p:cNvSpPr/>
          <p:nvPr/>
        </p:nvSpPr>
        <p:spPr>
          <a:xfrm>
            <a:off x="8431179" y="6292850"/>
            <a:ext cx="1022096" cy="192921"/>
          </a:xfrm>
          <a:custGeom>
            <a:avLst/>
            <a:gdLst/>
            <a:ahLst/>
            <a:cxnLst/>
            <a:rect l="l" t="t" r="r" b="b"/>
            <a:pathLst>
              <a:path w="1533144" h="289381">
                <a:moveTo>
                  <a:pt x="0" y="0"/>
                </a:moveTo>
                <a:lnTo>
                  <a:pt x="1533144" y="0"/>
                </a:lnTo>
                <a:lnTo>
                  <a:pt x="1533144" y="289381"/>
                </a:lnTo>
                <a:lnTo>
                  <a:pt x="0" y="289381"/>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17" name="Freeform 17"/>
          <p:cNvSpPr/>
          <p:nvPr/>
        </p:nvSpPr>
        <p:spPr>
          <a:xfrm>
            <a:off x="-209136" y="-55324"/>
            <a:ext cx="731562" cy="365781"/>
          </a:xfrm>
          <a:custGeom>
            <a:avLst/>
            <a:gdLst/>
            <a:ahLst/>
            <a:cxnLst/>
            <a:rect l="l" t="t" r="r" b="b"/>
            <a:pathLst>
              <a:path w="1097343" h="548672">
                <a:moveTo>
                  <a:pt x="0" y="0"/>
                </a:moveTo>
                <a:lnTo>
                  <a:pt x="1097343" y="0"/>
                </a:lnTo>
                <a:lnTo>
                  <a:pt x="1097343" y="548671"/>
                </a:lnTo>
                <a:lnTo>
                  <a:pt x="0" y="548671"/>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grpSp>
        <p:nvGrpSpPr>
          <p:cNvPr id="19" name="Group 19"/>
          <p:cNvGrpSpPr/>
          <p:nvPr/>
        </p:nvGrpSpPr>
        <p:grpSpPr>
          <a:xfrm>
            <a:off x="6077306" y="1010596"/>
            <a:ext cx="5614033" cy="4457650"/>
            <a:chOff x="-16421" y="-35208"/>
            <a:chExt cx="727368" cy="630606"/>
          </a:xfrm>
          <a:blipFill>
            <a:blip r:embed="rId11"/>
            <a:stretch>
              <a:fillRect l="-7798" r="-7798"/>
            </a:stretch>
          </a:blipFill>
        </p:grpSpPr>
        <p:sp>
          <p:nvSpPr>
            <p:cNvPr id="20" name="Freeform 20"/>
            <p:cNvSpPr/>
            <p:nvPr/>
          </p:nvSpPr>
          <p:spPr>
            <a:xfrm>
              <a:off x="-16421" y="-35208"/>
              <a:ext cx="727368" cy="630606"/>
            </a:xfrm>
            <a:custGeom>
              <a:avLst/>
              <a:gdLst/>
              <a:ahLst/>
              <a:cxnLst/>
              <a:rect l="l" t="t" r="r" b="b"/>
              <a:pathLst>
                <a:path w="727368" h="630606">
                  <a:moveTo>
                    <a:pt x="727368" y="315303"/>
                  </a:moveTo>
                  <a:lnTo>
                    <a:pt x="524168" y="630606"/>
                  </a:lnTo>
                  <a:lnTo>
                    <a:pt x="203200" y="630606"/>
                  </a:lnTo>
                  <a:lnTo>
                    <a:pt x="0" y="315303"/>
                  </a:lnTo>
                  <a:lnTo>
                    <a:pt x="203200" y="0"/>
                  </a:lnTo>
                  <a:lnTo>
                    <a:pt x="524168" y="0"/>
                  </a:lnTo>
                  <a:lnTo>
                    <a:pt x="727368" y="315303"/>
                  </a:lnTo>
                  <a:close/>
                </a:path>
              </a:pathLst>
            </a:custGeom>
            <a:blipFill dpi="0" rotWithShape="1">
              <a:blip r:embed="rId12"/>
              <a:srcRect/>
              <a:stretch>
                <a:fillRect l="9000" t="6000" r="9000" b="6000"/>
              </a:stretch>
            </a:blipFill>
            <a:ln w="142875" cap="sq">
              <a:solidFill>
                <a:schemeClr val="bg2">
                  <a:lumMod val="50000"/>
                </a:schemeClr>
              </a:solidFill>
              <a:prstDash val="solid"/>
              <a:miter/>
            </a:ln>
          </p:spPr>
          <p:txBody>
            <a:bodyPr/>
            <a:lstStyle/>
            <a:p>
              <a:endParaRPr lang="en-US" dirty="0"/>
            </a:p>
          </p:txBody>
        </p:sp>
      </p:grpSp>
      <p:sp>
        <p:nvSpPr>
          <p:cNvPr id="24" name="Freeform 24"/>
          <p:cNvSpPr/>
          <p:nvPr/>
        </p:nvSpPr>
        <p:spPr>
          <a:xfrm>
            <a:off x="11159067" y="4072998"/>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25" name="Freeform 25"/>
          <p:cNvSpPr/>
          <p:nvPr/>
        </p:nvSpPr>
        <p:spPr>
          <a:xfrm>
            <a:off x="7844679" y="-1161786"/>
            <a:ext cx="2065867" cy="1825709"/>
          </a:xfrm>
          <a:custGeom>
            <a:avLst/>
            <a:gdLst/>
            <a:ahLst/>
            <a:cxnLst/>
            <a:rect l="l" t="t" r="r" b="b"/>
            <a:pathLst>
              <a:path w="3098800" h="2738564">
                <a:moveTo>
                  <a:pt x="0" y="0"/>
                </a:moveTo>
                <a:lnTo>
                  <a:pt x="3098800" y="0"/>
                </a:lnTo>
                <a:lnTo>
                  <a:pt x="3098800" y="2738565"/>
                </a:lnTo>
                <a:lnTo>
                  <a:pt x="0" y="273856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26" name="Freeform 26"/>
          <p:cNvSpPr/>
          <p:nvPr/>
        </p:nvSpPr>
        <p:spPr>
          <a:xfrm>
            <a:off x="11695938" y="6558729"/>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sp>
      <p:sp>
        <p:nvSpPr>
          <p:cNvPr id="28" name="TextBox 28"/>
          <p:cNvSpPr txBox="1"/>
          <p:nvPr/>
        </p:nvSpPr>
        <p:spPr>
          <a:xfrm>
            <a:off x="970526" y="1931376"/>
            <a:ext cx="5074105" cy="2339102"/>
          </a:xfrm>
          <a:prstGeom prst="rect">
            <a:avLst/>
          </a:prstGeom>
        </p:spPr>
        <p:txBody>
          <a:bodyPr wrap="square" lIns="0" tIns="0" rIns="0" bIns="0" rtlCol="0" anchor="t">
            <a:spAutoFit/>
          </a:bodyPr>
          <a:lstStyle/>
          <a:p>
            <a:r>
              <a:rPr lang="en-US" sz="4800" b="1" dirty="0">
                <a:solidFill>
                  <a:srgbClr val="1D1A1B"/>
                </a:solidFill>
                <a:latin typeface="Aptos" panose="020B0004020202020204" pitchFamily="34" charset="0"/>
                <a:ea typeface="Archivo Black"/>
                <a:cs typeface="Archivo Black"/>
                <a:sym typeface="Archivo Black"/>
              </a:rPr>
              <a:t>Ohio TechNet Monthly Meeting</a:t>
            </a:r>
          </a:p>
          <a:p>
            <a:endParaRPr lang="en-US" sz="3200" b="1" dirty="0">
              <a:solidFill>
                <a:srgbClr val="1D1A1B"/>
              </a:solidFill>
              <a:latin typeface="Aptos" panose="020B0004020202020204" pitchFamily="34" charset="0"/>
              <a:ea typeface="Archivo Black"/>
              <a:cs typeface="Archivo Black"/>
              <a:sym typeface="Archivo Black"/>
            </a:endParaRPr>
          </a:p>
          <a:p>
            <a:r>
              <a:rPr lang="en-US" sz="2400" b="1" dirty="0">
                <a:solidFill>
                  <a:srgbClr val="1D1A1B"/>
                </a:solidFill>
                <a:latin typeface="Aptos"/>
                <a:ea typeface="Archivo Black"/>
                <a:cs typeface="Archivo Black"/>
                <a:sym typeface="Archivo Black"/>
              </a:rPr>
              <a:t>MAY 2025</a:t>
            </a:r>
            <a:endParaRPr lang="en-US" sz="2400" b="1" dirty="0">
              <a:solidFill>
                <a:srgbClr val="1D1A1B"/>
              </a:solidFill>
              <a:latin typeface="Aptos" panose="020B0004020202020204" pitchFamily="34" charset="0"/>
              <a:ea typeface="Archivo Black"/>
              <a:cs typeface="Archivo Black"/>
              <a:sym typeface="Archivo Black"/>
            </a:endParaRPr>
          </a:p>
        </p:txBody>
      </p:sp>
      <p:sp>
        <p:nvSpPr>
          <p:cNvPr id="30" name="TextBox 30"/>
          <p:cNvSpPr txBox="1"/>
          <p:nvPr/>
        </p:nvSpPr>
        <p:spPr>
          <a:xfrm>
            <a:off x="811625" y="5854711"/>
            <a:ext cx="3302000" cy="277640"/>
          </a:xfrm>
          <a:prstGeom prst="rect">
            <a:avLst/>
          </a:prstGeom>
        </p:spPr>
        <p:txBody>
          <a:bodyPr lIns="0" tIns="0" rIns="0" bIns="0" rtlCol="0" anchor="t">
            <a:spAutoFit/>
          </a:bodyPr>
          <a:lstStyle/>
          <a:p>
            <a:pPr>
              <a:lnSpc>
                <a:spcPts val="2333"/>
              </a:lnSpc>
            </a:pPr>
            <a:r>
              <a:rPr lang="en-US" sz="1650" b="1" dirty="0">
                <a:solidFill>
                  <a:srgbClr val="1D1A1B"/>
                </a:solidFill>
                <a:ea typeface="Public Sans Bold"/>
                <a:cs typeface="Public Sans Bold"/>
                <a:sym typeface="Public Sans Bold"/>
              </a:rPr>
              <a:t>Date:</a:t>
            </a:r>
            <a:r>
              <a:rPr lang="en-US" sz="1650" dirty="0">
                <a:solidFill>
                  <a:srgbClr val="1D1A1B"/>
                </a:solidFill>
                <a:ea typeface="Public Sans"/>
                <a:cs typeface="Public Sans"/>
                <a:sym typeface="Public Sans"/>
              </a:rPr>
              <a:t> May 20, 2025</a:t>
            </a:r>
          </a:p>
        </p:txBody>
      </p:sp>
      <p:sp>
        <p:nvSpPr>
          <p:cNvPr id="32" name="Freeform 32"/>
          <p:cNvSpPr/>
          <p:nvPr/>
        </p:nvSpPr>
        <p:spPr>
          <a:xfrm>
            <a:off x="-1856955" y="6651620"/>
            <a:ext cx="7622848" cy="862585"/>
          </a:xfrm>
          <a:custGeom>
            <a:avLst/>
            <a:gdLst/>
            <a:ahLst/>
            <a:cxnLst/>
            <a:rect l="l" t="t" r="r" b="b"/>
            <a:pathLst>
              <a:path w="11434272" h="1293877">
                <a:moveTo>
                  <a:pt x="0" y="0"/>
                </a:moveTo>
                <a:lnTo>
                  <a:pt x="11434272" y="0"/>
                </a:lnTo>
                <a:lnTo>
                  <a:pt x="11434272" y="1293877"/>
                </a:lnTo>
                <a:lnTo>
                  <a:pt x="0" y="1293877"/>
                </a:lnTo>
                <a:lnTo>
                  <a:pt x="0" y="0"/>
                </a:lnTo>
                <a:close/>
              </a:path>
            </a:pathLst>
          </a:custGeom>
          <a:blipFill>
            <a:blip r:embed="rId17">
              <a:extLst>
                <a:ext uri="{96DAC541-7B7A-43D3-8B79-37D633B846F1}">
                  <asvg:svgBlip xmlns:asvg="http://schemas.microsoft.com/office/drawing/2016/SVG/main" r:embed="rId18"/>
                </a:ext>
              </a:extLst>
            </a:blip>
            <a:stretch>
              <a:fillRect t="-483256"/>
            </a:stretch>
          </a:blipFill>
        </p:spPr>
      </p:sp>
      <p:sp>
        <p:nvSpPr>
          <p:cNvPr id="33" name="Freeform 33"/>
          <p:cNvSpPr/>
          <p:nvPr/>
        </p:nvSpPr>
        <p:spPr>
          <a:xfrm>
            <a:off x="-338927" y="5851492"/>
            <a:ext cx="1168660" cy="1006508"/>
          </a:xfrm>
          <a:custGeom>
            <a:avLst/>
            <a:gdLst/>
            <a:ahLst/>
            <a:cxnLst/>
            <a:rect l="l" t="t" r="r" b="b"/>
            <a:pathLst>
              <a:path w="1752990" h="1509762">
                <a:moveTo>
                  <a:pt x="0" y="0"/>
                </a:moveTo>
                <a:lnTo>
                  <a:pt x="1752990" y="0"/>
                </a:lnTo>
                <a:lnTo>
                  <a:pt x="1752990" y="1509762"/>
                </a:lnTo>
                <a:lnTo>
                  <a:pt x="0" y="1509762"/>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sp>
      <p:pic>
        <p:nvPicPr>
          <p:cNvPr id="35" name="Picture 34">
            <a:extLst>
              <a:ext uri="{FF2B5EF4-FFF2-40B4-BE49-F238E27FC236}">
                <a16:creationId xmlns:a16="http://schemas.microsoft.com/office/drawing/2014/main" id="{8F882295-5F48-46CD-BF79-69DDACF02678}"/>
              </a:ext>
            </a:extLst>
          </p:cNvPr>
          <p:cNvPicPr>
            <a:picLocks noChangeAspect="1"/>
          </p:cNvPicPr>
          <p:nvPr/>
        </p:nvPicPr>
        <p:blipFill>
          <a:blip r:embed="rId21">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003501" y="133758"/>
            <a:ext cx="2405750" cy="642213"/>
          </a:xfrm>
          <a:prstGeom prst="rect">
            <a:avLst/>
          </a:prstGeom>
        </p:spPr>
      </p:pic>
      <p:sp>
        <p:nvSpPr>
          <p:cNvPr id="31" name="Hexagon 30">
            <a:extLst>
              <a:ext uri="{FF2B5EF4-FFF2-40B4-BE49-F238E27FC236}">
                <a16:creationId xmlns:a16="http://schemas.microsoft.com/office/drawing/2014/main" id="{6926DC36-CF0D-4310-BD0A-2E11D81DDB7B}"/>
              </a:ext>
            </a:extLst>
          </p:cNvPr>
          <p:cNvSpPr/>
          <p:nvPr/>
        </p:nvSpPr>
        <p:spPr>
          <a:xfrm>
            <a:off x="9850438" y="4091775"/>
            <a:ext cx="2065866" cy="1825709"/>
          </a:xfrm>
          <a:prstGeom prst="hexagon">
            <a:avLst/>
          </a:prstGeom>
          <a:blipFill>
            <a:blip r:embed="rId22"/>
            <a:stretch>
              <a:fillRect l="-7798" r="-7798"/>
            </a:stretch>
          </a:blipFill>
          <a:ln w="762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7" name="Freeform 27"/>
          <p:cNvSpPr/>
          <p:nvPr/>
        </p:nvSpPr>
        <p:spPr>
          <a:xfrm>
            <a:off x="9421356" y="4551867"/>
            <a:ext cx="1172020" cy="1124963"/>
          </a:xfrm>
          <a:custGeom>
            <a:avLst/>
            <a:gdLst/>
            <a:ahLst/>
            <a:cxnLst/>
            <a:rect l="l" t="t" r="r" b="b"/>
            <a:pathLst>
              <a:path w="2093087" h="2098333">
                <a:moveTo>
                  <a:pt x="0" y="0"/>
                </a:moveTo>
                <a:lnTo>
                  <a:pt x="2093087" y="0"/>
                </a:lnTo>
                <a:lnTo>
                  <a:pt x="2093087" y="2098332"/>
                </a:lnTo>
                <a:lnTo>
                  <a:pt x="0" y="2098332"/>
                </a:lnTo>
                <a:lnTo>
                  <a:pt x="0" y="0"/>
                </a:lnTo>
                <a:close/>
              </a:path>
            </a:pathLst>
          </a:custGeom>
          <a:blipFill>
            <a:blip r:embed="rId23">
              <a:extLst>
                <a:ext uri="{96DAC541-7B7A-43D3-8B79-37D633B846F1}">
                  <asvg:svgBlip xmlns:asvg="http://schemas.microsoft.com/office/drawing/2016/SVG/main" r:embed="rId24"/>
                </a:ext>
              </a:extLst>
            </a:blip>
            <a:stretch>
              <a:fillRect/>
            </a:stretch>
          </a:blipFill>
        </p:spPr>
      </p:sp>
      <p:sp>
        <p:nvSpPr>
          <p:cNvPr id="15" name="TextBox 14">
            <a:extLst>
              <a:ext uri="{FF2B5EF4-FFF2-40B4-BE49-F238E27FC236}">
                <a16:creationId xmlns:a16="http://schemas.microsoft.com/office/drawing/2014/main" id="{1C189053-3F90-3D5A-A734-A5DF8437815E}"/>
              </a:ext>
            </a:extLst>
          </p:cNvPr>
          <p:cNvSpPr txBox="1"/>
          <p:nvPr/>
        </p:nvSpPr>
        <p:spPr>
          <a:xfrm>
            <a:off x="970526" y="760104"/>
            <a:ext cx="3914169" cy="307777"/>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r>
              <a:rPr lang="en-US" sz="1600" b="1" dirty="0">
                <a:latin typeface="Aptos" panose="020B0004020202020204" pitchFamily="34" charset="0"/>
                <a:ea typeface="Calibri"/>
                <a:cs typeface="Calibri"/>
              </a:rPr>
              <a:t>Ohio Technical Skills Innovation Network</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a:extLst>
            <a:ext uri="{FF2B5EF4-FFF2-40B4-BE49-F238E27FC236}">
              <a16:creationId xmlns:a16="http://schemas.microsoft.com/office/drawing/2014/main" id="{67A119FF-2CDD-BC19-5DCA-CC383E97A17A}"/>
            </a:ext>
          </a:extLst>
        </p:cNvPr>
        <p:cNvGrpSpPr/>
        <p:nvPr/>
      </p:nvGrpSpPr>
      <p:grpSpPr>
        <a:xfrm>
          <a:off x="0" y="0"/>
          <a:ext cx="0" cy="0"/>
          <a:chOff x="0" y="0"/>
          <a:chExt cx="0" cy="0"/>
        </a:xfrm>
      </p:grpSpPr>
      <p:sp>
        <p:nvSpPr>
          <p:cNvPr id="3" name="Freeform 3">
            <a:extLst>
              <a:ext uri="{FF2B5EF4-FFF2-40B4-BE49-F238E27FC236}">
                <a16:creationId xmlns:a16="http://schemas.microsoft.com/office/drawing/2014/main" id="{3B3741C5-E5A1-2A11-F139-DA5408A9B560}"/>
              </a:ext>
            </a:extLst>
          </p:cNvPr>
          <p:cNvSpPr/>
          <p:nvPr/>
        </p:nvSpPr>
        <p:spPr>
          <a:xfrm flipH="1">
            <a:off x="10480370" y="-511305"/>
            <a:ext cx="2560418" cy="3341492"/>
          </a:xfrm>
          <a:custGeom>
            <a:avLst/>
            <a:gdLst/>
            <a:ahLst/>
            <a:cxnLst/>
            <a:rect l="l" t="t" r="r" b="b"/>
            <a:pathLst>
              <a:path w="3840627" h="5012238">
                <a:moveTo>
                  <a:pt x="3840627" y="0"/>
                </a:moveTo>
                <a:lnTo>
                  <a:pt x="0" y="0"/>
                </a:lnTo>
                <a:lnTo>
                  <a:pt x="0" y="5012238"/>
                </a:lnTo>
                <a:lnTo>
                  <a:pt x="3840627" y="5012238"/>
                </a:lnTo>
                <a:lnTo>
                  <a:pt x="3840627"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5" name="Group 5">
            <a:extLst>
              <a:ext uri="{FF2B5EF4-FFF2-40B4-BE49-F238E27FC236}">
                <a16:creationId xmlns:a16="http://schemas.microsoft.com/office/drawing/2014/main" id="{4AF7630B-0256-01BC-5A2B-ADFD64937846}"/>
              </a:ext>
            </a:extLst>
          </p:cNvPr>
          <p:cNvGrpSpPr/>
          <p:nvPr/>
        </p:nvGrpSpPr>
        <p:grpSpPr>
          <a:xfrm>
            <a:off x="-333069" y="6555699"/>
            <a:ext cx="12994208" cy="629923"/>
            <a:chOff x="0" y="0"/>
            <a:chExt cx="5133514" cy="248858"/>
          </a:xfrm>
        </p:grpSpPr>
        <p:sp>
          <p:nvSpPr>
            <p:cNvPr id="6" name="Freeform 6">
              <a:extLst>
                <a:ext uri="{FF2B5EF4-FFF2-40B4-BE49-F238E27FC236}">
                  <a16:creationId xmlns:a16="http://schemas.microsoft.com/office/drawing/2014/main" id="{1B4E371B-491E-41FA-A8E3-E9F2929073FF}"/>
                </a:ext>
              </a:extLst>
            </p:cNvPr>
            <p:cNvSpPr/>
            <p:nvPr/>
          </p:nvSpPr>
          <p:spPr>
            <a:xfrm>
              <a:off x="0" y="0"/>
              <a:ext cx="5133514" cy="248858"/>
            </a:xfrm>
            <a:custGeom>
              <a:avLst/>
              <a:gdLst/>
              <a:ahLst/>
              <a:cxnLst/>
              <a:rect l="l" t="t" r="r" b="b"/>
              <a:pathLst>
                <a:path w="5133514" h="248858">
                  <a:moveTo>
                    <a:pt x="0" y="0"/>
                  </a:moveTo>
                  <a:lnTo>
                    <a:pt x="5133514" y="0"/>
                  </a:lnTo>
                  <a:lnTo>
                    <a:pt x="5133514" y="248858"/>
                  </a:lnTo>
                  <a:lnTo>
                    <a:pt x="0" y="248858"/>
                  </a:ln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7" name="TextBox 7">
              <a:extLst>
                <a:ext uri="{FF2B5EF4-FFF2-40B4-BE49-F238E27FC236}">
                  <a16:creationId xmlns:a16="http://schemas.microsoft.com/office/drawing/2014/main" id="{64B4A8A0-7946-B6B5-74A8-3C9A0E66C4F3}"/>
                </a:ext>
              </a:extLst>
            </p:cNvPr>
            <p:cNvSpPr txBox="1"/>
            <p:nvPr/>
          </p:nvSpPr>
          <p:spPr>
            <a:xfrm>
              <a:off x="0" y="-76200"/>
              <a:ext cx="5133514" cy="32505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8" name="Freeform 8">
            <a:extLst>
              <a:ext uri="{FF2B5EF4-FFF2-40B4-BE49-F238E27FC236}">
                <a16:creationId xmlns:a16="http://schemas.microsoft.com/office/drawing/2014/main" id="{43E9F803-2F43-ABC0-69C2-A4A69A27E0F2}"/>
              </a:ext>
            </a:extLst>
          </p:cNvPr>
          <p:cNvSpPr/>
          <p:nvPr/>
        </p:nvSpPr>
        <p:spPr>
          <a:xfrm>
            <a:off x="8175567" y="134002"/>
            <a:ext cx="2235344" cy="440571"/>
          </a:xfrm>
          <a:custGeom>
            <a:avLst/>
            <a:gdLst/>
            <a:ahLst/>
            <a:cxnLst/>
            <a:rect l="l" t="t" r="r" b="b"/>
            <a:pathLst>
              <a:path w="3353016" h="660856">
                <a:moveTo>
                  <a:pt x="0" y="0"/>
                </a:moveTo>
                <a:lnTo>
                  <a:pt x="3353015" y="0"/>
                </a:lnTo>
                <a:lnTo>
                  <a:pt x="3353015" y="660856"/>
                </a:lnTo>
                <a:lnTo>
                  <a:pt x="0" y="660856"/>
                </a:lnTo>
                <a:lnTo>
                  <a:pt x="0" y="0"/>
                </a:lnTo>
                <a:close/>
              </a:path>
            </a:pathLst>
          </a:custGeom>
          <a:blipFill>
            <a:blip r:embed="rId6"/>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cxnSp>
        <p:nvCxnSpPr>
          <p:cNvPr id="4" name="Straight Connector 3">
            <a:extLst>
              <a:ext uri="{FF2B5EF4-FFF2-40B4-BE49-F238E27FC236}">
                <a16:creationId xmlns:a16="http://schemas.microsoft.com/office/drawing/2014/main" id="{2EEC952C-0E9A-97FF-486D-C67FDEE202CF}"/>
              </a:ext>
            </a:extLst>
          </p:cNvPr>
          <p:cNvCxnSpPr>
            <a:cxnSpLocks/>
          </p:cNvCxnSpPr>
          <p:nvPr/>
        </p:nvCxnSpPr>
        <p:spPr>
          <a:xfrm>
            <a:off x="593108" y="1973468"/>
            <a:ext cx="11005786" cy="0"/>
          </a:xfrm>
          <a:prstGeom prst="line">
            <a:avLst/>
          </a:prstGeom>
          <a:ln>
            <a:solidFill>
              <a:srgbClr val="4DA72E"/>
            </a:solidFill>
            <a:prstDash val="dash"/>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A054418E-97D1-78F4-09F4-8ECB43EC8ED7}"/>
              </a:ext>
            </a:extLst>
          </p:cNvPr>
          <p:cNvSpPr txBox="1"/>
          <p:nvPr/>
        </p:nvSpPr>
        <p:spPr>
          <a:xfrm>
            <a:off x="593108" y="2175084"/>
            <a:ext cx="2764540" cy="1077218"/>
          </a:xfrm>
          <a:prstGeom prst="rect">
            <a:avLst/>
          </a:prstGeom>
          <a:noFill/>
        </p:spPr>
        <p:txBody>
          <a:bodyPr wrap="square">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4DA72E"/>
              </a:buClr>
              <a:buSzTx/>
              <a:buFontTx/>
              <a:buNone/>
              <a:tabLst/>
              <a:defRPr/>
            </a:pPr>
            <a:r>
              <a:rPr kumimoji="0" lang="en-US" sz="1600" b="0" i="0" u="none" strike="noStrike" kern="1200" cap="none" spc="0" normalizeH="0" baseline="0" noProof="0" dirty="0">
                <a:ln>
                  <a:noFill/>
                </a:ln>
                <a:solidFill>
                  <a:srgbClr val="000000"/>
                </a:solidFill>
                <a:effectLst/>
                <a:uLnTx/>
                <a:uFillTx/>
                <a:latin typeface="Gotham Book" pitchFamily="2" charset="0"/>
                <a:ea typeface="+mn-ea"/>
                <a:cs typeface="Gotham Book" pitchFamily="2" charset="0"/>
              </a:rPr>
              <a:t>Industry image &amp; awareness programs and assets to illuminate educational pathways and careers</a:t>
            </a:r>
          </a:p>
        </p:txBody>
      </p:sp>
      <p:pic>
        <p:nvPicPr>
          <p:cNvPr id="22" name="Picture 21">
            <a:extLst>
              <a:ext uri="{FF2B5EF4-FFF2-40B4-BE49-F238E27FC236}">
                <a16:creationId xmlns:a16="http://schemas.microsoft.com/office/drawing/2014/main" id="{C40468FB-3FC7-4792-11F3-1C08F5C75C1B}"/>
              </a:ext>
            </a:extLst>
          </p:cNvPr>
          <p:cNvPicPr>
            <a:picLocks noChangeAspect="1"/>
          </p:cNvPicPr>
          <p:nvPr/>
        </p:nvPicPr>
        <p:blipFill>
          <a:blip r:embed="rId7"/>
          <a:stretch>
            <a:fillRect/>
          </a:stretch>
        </p:blipFill>
        <p:spPr>
          <a:xfrm>
            <a:off x="3338160" y="2258671"/>
            <a:ext cx="953115" cy="1077219"/>
          </a:xfrm>
          <a:prstGeom prst="rect">
            <a:avLst/>
          </a:prstGeom>
        </p:spPr>
      </p:pic>
      <p:cxnSp>
        <p:nvCxnSpPr>
          <p:cNvPr id="34" name="Straight Connector 33">
            <a:extLst>
              <a:ext uri="{FF2B5EF4-FFF2-40B4-BE49-F238E27FC236}">
                <a16:creationId xmlns:a16="http://schemas.microsoft.com/office/drawing/2014/main" id="{18135DDC-B2C4-15DD-6CFA-904C508F2FAD}"/>
              </a:ext>
            </a:extLst>
          </p:cNvPr>
          <p:cNvCxnSpPr>
            <a:cxnSpLocks/>
          </p:cNvCxnSpPr>
          <p:nvPr/>
        </p:nvCxnSpPr>
        <p:spPr>
          <a:xfrm>
            <a:off x="4558572" y="2091540"/>
            <a:ext cx="0" cy="1415200"/>
          </a:xfrm>
          <a:prstGeom prst="line">
            <a:avLst/>
          </a:prstGeom>
          <a:ln>
            <a:solidFill>
              <a:srgbClr val="4DA72E"/>
            </a:solidFill>
            <a:prstDash val="dash"/>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6B5AE5F5-430A-9427-3CA2-6F402B137394}"/>
              </a:ext>
            </a:extLst>
          </p:cNvPr>
          <p:cNvSpPr txBox="1"/>
          <p:nvPr/>
        </p:nvSpPr>
        <p:spPr>
          <a:xfrm>
            <a:off x="4592606" y="2934363"/>
            <a:ext cx="2285998" cy="584775"/>
          </a:xfrm>
          <a:prstGeom prst="rect">
            <a:avLst/>
          </a:prstGeom>
          <a:noFill/>
        </p:spPr>
        <p:txBody>
          <a:bodyPr wrap="square">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
                <a:srgbClr val="4DA72E"/>
              </a:buClr>
              <a:buSzTx/>
              <a:buFontTx/>
              <a:buNone/>
              <a:tabLst/>
              <a:defRPr/>
            </a:pPr>
            <a:r>
              <a:rPr kumimoji="0" lang="en-US" sz="1600" b="0" i="0" u="none" strike="noStrike" kern="1200" cap="none" spc="0" normalizeH="0" baseline="0" noProof="0">
                <a:ln>
                  <a:noFill/>
                </a:ln>
                <a:solidFill>
                  <a:srgbClr val="000000"/>
                </a:solidFill>
                <a:effectLst/>
                <a:uLnTx/>
                <a:uFillTx/>
                <a:latin typeface="Gotham Book" pitchFamily="2" charset="0"/>
                <a:ea typeface="+mn-ea"/>
                <a:cs typeface="Gotham Book" pitchFamily="2" charset="0"/>
              </a:rPr>
              <a:t>Hands-on training for students</a:t>
            </a:r>
          </a:p>
        </p:txBody>
      </p:sp>
      <p:cxnSp>
        <p:nvCxnSpPr>
          <p:cNvPr id="36" name="Straight Connector 35">
            <a:extLst>
              <a:ext uri="{FF2B5EF4-FFF2-40B4-BE49-F238E27FC236}">
                <a16:creationId xmlns:a16="http://schemas.microsoft.com/office/drawing/2014/main" id="{C53BACAC-B647-D650-F10C-C5770082C720}"/>
              </a:ext>
            </a:extLst>
          </p:cNvPr>
          <p:cNvCxnSpPr>
            <a:cxnSpLocks/>
          </p:cNvCxnSpPr>
          <p:nvPr/>
        </p:nvCxnSpPr>
        <p:spPr>
          <a:xfrm>
            <a:off x="6878604" y="2091540"/>
            <a:ext cx="0" cy="1415200"/>
          </a:xfrm>
          <a:prstGeom prst="line">
            <a:avLst/>
          </a:prstGeom>
          <a:ln>
            <a:solidFill>
              <a:srgbClr val="4DA72E"/>
            </a:solidFill>
            <a:prstDash val="dash"/>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59BBBE06-481C-0993-66F0-825DA18CBCAE}"/>
              </a:ext>
            </a:extLst>
          </p:cNvPr>
          <p:cNvSpPr txBox="1"/>
          <p:nvPr/>
        </p:nvSpPr>
        <p:spPr>
          <a:xfrm>
            <a:off x="7075823" y="2284350"/>
            <a:ext cx="1818916" cy="830997"/>
          </a:xfrm>
          <a:prstGeom prst="rect">
            <a:avLst/>
          </a:prstGeom>
          <a:noFill/>
        </p:spPr>
        <p:txBody>
          <a:bodyPr wrap="square">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4DA72E"/>
              </a:buClr>
              <a:buSzTx/>
              <a:buFontTx/>
              <a:buNone/>
              <a:tabLst/>
              <a:defRPr/>
            </a:pPr>
            <a:r>
              <a:rPr kumimoji="0" lang="en-US" sz="1600" b="0" i="0" u="none" strike="noStrike" kern="1200" cap="none" spc="0" normalizeH="0" baseline="0" noProof="0">
                <a:ln>
                  <a:noFill/>
                </a:ln>
                <a:solidFill>
                  <a:srgbClr val="000000"/>
                </a:solidFill>
                <a:effectLst/>
                <a:uLnTx/>
                <a:uFillTx/>
                <a:latin typeface="Gotham Book" pitchFamily="2" charset="0"/>
                <a:ea typeface="+mn-ea"/>
                <a:cs typeface="Gotham Book" pitchFamily="2" charset="0"/>
              </a:rPr>
              <a:t>Educator training to boost industry knowledge</a:t>
            </a:r>
          </a:p>
        </p:txBody>
      </p:sp>
      <p:cxnSp>
        <p:nvCxnSpPr>
          <p:cNvPr id="38" name="Straight Connector 37">
            <a:extLst>
              <a:ext uri="{FF2B5EF4-FFF2-40B4-BE49-F238E27FC236}">
                <a16:creationId xmlns:a16="http://schemas.microsoft.com/office/drawing/2014/main" id="{43C08DE2-273B-196B-76D3-E76C85CC1224}"/>
              </a:ext>
            </a:extLst>
          </p:cNvPr>
          <p:cNvCxnSpPr>
            <a:cxnSpLocks/>
          </p:cNvCxnSpPr>
          <p:nvPr/>
        </p:nvCxnSpPr>
        <p:spPr>
          <a:xfrm>
            <a:off x="593108" y="3661157"/>
            <a:ext cx="9211658" cy="0"/>
          </a:xfrm>
          <a:prstGeom prst="line">
            <a:avLst/>
          </a:prstGeom>
          <a:ln>
            <a:solidFill>
              <a:srgbClr val="4DA72E"/>
            </a:solidFill>
            <a:prstDash val="dash"/>
          </a:ln>
        </p:spPr>
        <p:style>
          <a:lnRef idx="2">
            <a:schemeClr val="accent1"/>
          </a:lnRef>
          <a:fillRef idx="0">
            <a:schemeClr val="accent1"/>
          </a:fillRef>
          <a:effectRef idx="1">
            <a:schemeClr val="accent1"/>
          </a:effectRef>
          <a:fontRef idx="minor">
            <a:schemeClr val="tx1"/>
          </a:fontRef>
        </p:style>
      </p:cxnSp>
      <p:pic>
        <p:nvPicPr>
          <p:cNvPr id="39" name="Picture 38">
            <a:extLst>
              <a:ext uri="{FF2B5EF4-FFF2-40B4-BE49-F238E27FC236}">
                <a16:creationId xmlns:a16="http://schemas.microsoft.com/office/drawing/2014/main" id="{FED9DD70-141F-6021-23E3-435DA458D235}"/>
              </a:ext>
            </a:extLst>
          </p:cNvPr>
          <p:cNvPicPr>
            <a:picLocks noChangeAspect="1"/>
          </p:cNvPicPr>
          <p:nvPr/>
        </p:nvPicPr>
        <p:blipFill>
          <a:blip r:embed="rId8"/>
          <a:stretch>
            <a:fillRect/>
          </a:stretch>
        </p:blipFill>
        <p:spPr>
          <a:xfrm>
            <a:off x="5375210" y="2211170"/>
            <a:ext cx="720790" cy="723193"/>
          </a:xfrm>
          <a:prstGeom prst="rect">
            <a:avLst/>
          </a:prstGeom>
        </p:spPr>
      </p:pic>
      <p:pic>
        <p:nvPicPr>
          <p:cNvPr id="40" name="Graphic 39" descr="Brain in head with solid fill">
            <a:extLst>
              <a:ext uri="{FF2B5EF4-FFF2-40B4-BE49-F238E27FC236}">
                <a16:creationId xmlns:a16="http://schemas.microsoft.com/office/drawing/2014/main" id="{9461D844-C192-FEFD-95CD-758036DDDA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27962" y="2254754"/>
            <a:ext cx="1077218" cy="1077218"/>
          </a:xfrm>
          <a:prstGeom prst="rect">
            <a:avLst/>
          </a:prstGeom>
        </p:spPr>
      </p:pic>
      <p:sp>
        <p:nvSpPr>
          <p:cNvPr id="41" name="TextBox 40">
            <a:extLst>
              <a:ext uri="{FF2B5EF4-FFF2-40B4-BE49-F238E27FC236}">
                <a16:creationId xmlns:a16="http://schemas.microsoft.com/office/drawing/2014/main" id="{E21DF461-116A-FFCA-3763-2F8CA02E1DC5}"/>
              </a:ext>
            </a:extLst>
          </p:cNvPr>
          <p:cNvSpPr txBox="1"/>
          <p:nvPr/>
        </p:nvSpPr>
        <p:spPr>
          <a:xfrm>
            <a:off x="6270020" y="3948359"/>
            <a:ext cx="2585618" cy="830997"/>
          </a:xfrm>
          <a:prstGeom prst="rect">
            <a:avLst/>
          </a:prstGeom>
          <a:noFill/>
        </p:spPr>
        <p:txBody>
          <a:bodyPr wrap="square">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4DA72E"/>
              </a:buClr>
              <a:buSzTx/>
              <a:buFontTx/>
              <a:buNone/>
              <a:tabLst/>
              <a:defRPr/>
            </a:pPr>
            <a:r>
              <a:rPr kumimoji="0" lang="en-US" sz="1600" b="0" i="0" u="none" strike="noStrike" kern="1200" cap="none" spc="0" normalizeH="0" baseline="0" noProof="0">
                <a:ln>
                  <a:noFill/>
                </a:ln>
                <a:solidFill>
                  <a:srgbClr val="000000"/>
                </a:solidFill>
                <a:effectLst/>
                <a:uLnTx/>
                <a:uFillTx/>
                <a:latin typeface="Gotham Book" pitchFamily="2" charset="0"/>
                <a:ea typeface="+mn-ea"/>
                <a:cs typeface="Gotham Book" pitchFamily="2" charset="0"/>
              </a:rPr>
              <a:t>Expanding programs for new and incumbent workers, including through SEMI U</a:t>
            </a:r>
          </a:p>
        </p:txBody>
      </p:sp>
      <p:cxnSp>
        <p:nvCxnSpPr>
          <p:cNvPr id="42" name="Straight Connector 41">
            <a:extLst>
              <a:ext uri="{FF2B5EF4-FFF2-40B4-BE49-F238E27FC236}">
                <a16:creationId xmlns:a16="http://schemas.microsoft.com/office/drawing/2014/main" id="{478ED038-6203-884F-D22C-459DF7ED3D38}"/>
              </a:ext>
            </a:extLst>
          </p:cNvPr>
          <p:cNvCxnSpPr>
            <a:cxnSpLocks/>
          </p:cNvCxnSpPr>
          <p:nvPr/>
        </p:nvCxnSpPr>
        <p:spPr>
          <a:xfrm>
            <a:off x="6074328" y="3785915"/>
            <a:ext cx="0" cy="1415200"/>
          </a:xfrm>
          <a:prstGeom prst="line">
            <a:avLst/>
          </a:prstGeom>
          <a:ln>
            <a:solidFill>
              <a:srgbClr val="4DA72E"/>
            </a:solidFill>
            <a:prstDash val="dash"/>
          </a:ln>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AAFF67A0-6313-C532-967F-497257A75551}"/>
              </a:ext>
            </a:extLst>
          </p:cNvPr>
          <p:cNvSpPr txBox="1"/>
          <p:nvPr/>
        </p:nvSpPr>
        <p:spPr>
          <a:xfrm>
            <a:off x="2037256" y="3836250"/>
            <a:ext cx="3791474" cy="1077218"/>
          </a:xfrm>
          <a:prstGeom prst="rect">
            <a:avLst/>
          </a:prstGeom>
          <a:noFill/>
        </p:spPr>
        <p:txBody>
          <a:bodyPr wrap="square">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4DA72E"/>
              </a:buClr>
              <a:buSzTx/>
              <a:buFontTx/>
              <a:buNone/>
              <a:tabLst/>
              <a:defRPr/>
            </a:pPr>
            <a:r>
              <a:rPr kumimoji="0" lang="en-US" sz="1600" b="0" i="0" u="none" strike="noStrike" kern="1200" cap="none" spc="0" normalizeH="0" baseline="0" noProof="0">
                <a:ln>
                  <a:noFill/>
                </a:ln>
                <a:solidFill>
                  <a:srgbClr val="000000"/>
                </a:solidFill>
                <a:effectLst/>
                <a:uLnTx/>
                <a:uFillTx/>
                <a:latin typeface="Gotham Book" pitchFamily="2" charset="0"/>
                <a:ea typeface="+mn-ea"/>
                <a:cs typeface="Gotham Book" pitchFamily="2" charset="0"/>
              </a:rPr>
              <a:t>Customized programs for members of the military community, women, and other underrepresented communities to build a larger and more diverse talent pool</a:t>
            </a:r>
          </a:p>
        </p:txBody>
      </p:sp>
      <p:cxnSp>
        <p:nvCxnSpPr>
          <p:cNvPr id="44" name="Straight Connector 43">
            <a:extLst>
              <a:ext uri="{FF2B5EF4-FFF2-40B4-BE49-F238E27FC236}">
                <a16:creationId xmlns:a16="http://schemas.microsoft.com/office/drawing/2014/main" id="{ED647278-508F-1CEA-815F-63EF827CEB92}"/>
              </a:ext>
            </a:extLst>
          </p:cNvPr>
          <p:cNvCxnSpPr>
            <a:cxnSpLocks/>
          </p:cNvCxnSpPr>
          <p:nvPr/>
        </p:nvCxnSpPr>
        <p:spPr>
          <a:xfrm>
            <a:off x="593108" y="5337557"/>
            <a:ext cx="11005786" cy="0"/>
          </a:xfrm>
          <a:prstGeom prst="line">
            <a:avLst/>
          </a:prstGeom>
          <a:ln>
            <a:solidFill>
              <a:srgbClr val="4DA72E"/>
            </a:solidFill>
            <a:prstDash val="dash"/>
          </a:ln>
        </p:spPr>
        <p:style>
          <a:lnRef idx="2">
            <a:schemeClr val="accent1"/>
          </a:lnRef>
          <a:fillRef idx="0">
            <a:schemeClr val="accent1"/>
          </a:fillRef>
          <a:effectRef idx="1">
            <a:schemeClr val="accent1"/>
          </a:effectRef>
          <a:fontRef idx="minor">
            <a:schemeClr val="tx1"/>
          </a:fontRef>
        </p:style>
      </p:cxnSp>
      <p:pic>
        <p:nvPicPr>
          <p:cNvPr id="45" name="Picture 44">
            <a:extLst>
              <a:ext uri="{FF2B5EF4-FFF2-40B4-BE49-F238E27FC236}">
                <a16:creationId xmlns:a16="http://schemas.microsoft.com/office/drawing/2014/main" id="{DE35BC7A-7D0B-07C1-2193-17596E0A5D3D}"/>
              </a:ext>
            </a:extLst>
          </p:cNvPr>
          <p:cNvPicPr>
            <a:picLocks noChangeAspect="1"/>
          </p:cNvPicPr>
          <p:nvPr/>
        </p:nvPicPr>
        <p:blipFill>
          <a:blip r:embed="rId11"/>
          <a:stretch>
            <a:fillRect/>
          </a:stretch>
        </p:blipFill>
        <p:spPr>
          <a:xfrm>
            <a:off x="701758" y="3936516"/>
            <a:ext cx="1137370" cy="1137370"/>
          </a:xfrm>
          <a:prstGeom prst="rect">
            <a:avLst/>
          </a:prstGeom>
        </p:spPr>
      </p:pic>
      <p:pic>
        <p:nvPicPr>
          <p:cNvPr id="46" name="Picture 45">
            <a:extLst>
              <a:ext uri="{FF2B5EF4-FFF2-40B4-BE49-F238E27FC236}">
                <a16:creationId xmlns:a16="http://schemas.microsoft.com/office/drawing/2014/main" id="{6FF5EC46-616A-E9CB-0DF0-622D3684B323}"/>
              </a:ext>
            </a:extLst>
          </p:cNvPr>
          <p:cNvPicPr>
            <a:picLocks noChangeAspect="1"/>
          </p:cNvPicPr>
          <p:nvPr/>
        </p:nvPicPr>
        <p:blipFill>
          <a:blip r:embed="rId12"/>
          <a:stretch>
            <a:fillRect/>
          </a:stretch>
        </p:blipFill>
        <p:spPr>
          <a:xfrm>
            <a:off x="8888970" y="4083506"/>
            <a:ext cx="859734" cy="924865"/>
          </a:xfrm>
          <a:prstGeom prst="rect">
            <a:avLst/>
          </a:prstGeom>
        </p:spPr>
      </p:pic>
      <p:sp>
        <p:nvSpPr>
          <p:cNvPr id="47" name="TextBox 46">
            <a:extLst>
              <a:ext uri="{FF2B5EF4-FFF2-40B4-BE49-F238E27FC236}">
                <a16:creationId xmlns:a16="http://schemas.microsoft.com/office/drawing/2014/main" id="{23BC9F2D-C657-8A33-BE95-70BEBEB64A17}"/>
              </a:ext>
            </a:extLst>
          </p:cNvPr>
          <p:cNvSpPr txBox="1"/>
          <p:nvPr/>
        </p:nvSpPr>
        <p:spPr>
          <a:xfrm>
            <a:off x="580719" y="5489901"/>
            <a:ext cx="4244139" cy="830997"/>
          </a:xfrm>
          <a:prstGeom prst="rect">
            <a:avLst/>
          </a:prstGeom>
          <a:noFill/>
        </p:spPr>
        <p:txBody>
          <a:bodyPr wrap="square">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4DA72E"/>
              </a:buClr>
              <a:buSzTx/>
              <a:buFontTx/>
              <a:buNone/>
              <a:tabLst/>
              <a:defRPr/>
            </a:pPr>
            <a:r>
              <a:rPr kumimoji="0" lang="en-US" sz="1600" b="0" i="0" u="none" strike="noStrike" kern="1200" cap="none" spc="0" normalizeH="0" baseline="0" noProof="0">
                <a:ln>
                  <a:noFill/>
                </a:ln>
                <a:solidFill>
                  <a:srgbClr val="000000"/>
                </a:solidFill>
                <a:effectLst/>
                <a:uLnTx/>
                <a:uFillTx/>
                <a:latin typeface="Gotham Book" pitchFamily="2" charset="0"/>
                <a:ea typeface="+mn-ea"/>
                <a:cs typeface="Gotham Book" pitchFamily="2" charset="0"/>
              </a:rPr>
              <a:t>Intermediary services to unite industry, academia, workforce agencies, and government in support of Workforce Development</a:t>
            </a:r>
          </a:p>
        </p:txBody>
      </p:sp>
      <p:sp>
        <p:nvSpPr>
          <p:cNvPr id="48" name="TextBox 47">
            <a:extLst>
              <a:ext uri="{FF2B5EF4-FFF2-40B4-BE49-F238E27FC236}">
                <a16:creationId xmlns:a16="http://schemas.microsoft.com/office/drawing/2014/main" id="{17F7DED3-0E14-23D3-1E7C-1008CB8C111F}"/>
              </a:ext>
            </a:extLst>
          </p:cNvPr>
          <p:cNvSpPr txBox="1"/>
          <p:nvPr/>
        </p:nvSpPr>
        <p:spPr>
          <a:xfrm>
            <a:off x="6270020" y="5606165"/>
            <a:ext cx="4256711" cy="830997"/>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4DA72E"/>
              </a:buClr>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a:ea typeface="+mn-ea"/>
                <a:cs typeface="Gotham Book" pitchFamily="2" charset="0"/>
              </a:rPr>
              <a:t>Support for member companies in creating workforce development plans, childcare plans, and equity strategies</a:t>
            </a:r>
          </a:p>
        </p:txBody>
      </p:sp>
      <p:cxnSp>
        <p:nvCxnSpPr>
          <p:cNvPr id="49" name="Straight Connector 48">
            <a:extLst>
              <a:ext uri="{FF2B5EF4-FFF2-40B4-BE49-F238E27FC236}">
                <a16:creationId xmlns:a16="http://schemas.microsoft.com/office/drawing/2014/main" id="{56503819-FB51-BE81-C6BF-47F27698F416}"/>
              </a:ext>
            </a:extLst>
          </p:cNvPr>
          <p:cNvCxnSpPr>
            <a:cxnSpLocks/>
          </p:cNvCxnSpPr>
          <p:nvPr/>
        </p:nvCxnSpPr>
        <p:spPr>
          <a:xfrm>
            <a:off x="10000869" y="2106370"/>
            <a:ext cx="0" cy="3109575"/>
          </a:xfrm>
          <a:prstGeom prst="line">
            <a:avLst/>
          </a:prstGeom>
          <a:ln>
            <a:solidFill>
              <a:srgbClr val="4DA72E"/>
            </a:solidFill>
            <a:prstDash val="dash"/>
          </a:ln>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0028D883-E957-7495-CD7A-18508406CB3A}"/>
              </a:ext>
            </a:extLst>
          </p:cNvPr>
          <p:cNvSpPr txBox="1"/>
          <p:nvPr/>
        </p:nvSpPr>
        <p:spPr>
          <a:xfrm>
            <a:off x="10196561" y="3354078"/>
            <a:ext cx="1382244" cy="1576345"/>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4DA72E"/>
              </a:buClr>
              <a:buSzTx/>
              <a:buFontTx/>
              <a:buNone/>
              <a:tabLst/>
              <a:defRPr/>
            </a:pPr>
            <a:r>
              <a:rPr kumimoji="0" lang="en-US" sz="1600" b="0" i="0" u="none" strike="noStrike" kern="1200" cap="none" spc="0" normalizeH="0" baseline="0" noProof="0">
                <a:ln>
                  <a:noFill/>
                </a:ln>
                <a:solidFill>
                  <a:srgbClr val="000000"/>
                </a:solidFill>
                <a:effectLst/>
                <a:uLnTx/>
                <a:uFillTx/>
                <a:latin typeface="Gotham Book"/>
                <a:ea typeface="+mn-ea"/>
                <a:cs typeface="Gotham Book" pitchFamily="2" charset="0"/>
              </a:rPr>
              <a:t>Advocacy for workplace culture and worker voice in all programs</a:t>
            </a:r>
            <a:endParaRPr kumimoji="0" lang="en-US" sz="1600" b="0" i="0" u="none" strike="noStrike" kern="1200" cap="none" spc="0" normalizeH="0" baseline="0" noProof="0">
              <a:ln>
                <a:noFill/>
              </a:ln>
              <a:solidFill>
                <a:srgbClr val="000000"/>
              </a:solidFill>
              <a:effectLst/>
              <a:uLnTx/>
              <a:uFillTx/>
              <a:latin typeface="Gotham Book" pitchFamily="2" charset="0"/>
              <a:ea typeface="+mn-ea"/>
              <a:cs typeface="Gotham Book" pitchFamily="2" charset="0"/>
            </a:endParaRPr>
          </a:p>
        </p:txBody>
      </p:sp>
      <p:pic>
        <p:nvPicPr>
          <p:cNvPr id="51" name="Picture 50">
            <a:extLst>
              <a:ext uri="{FF2B5EF4-FFF2-40B4-BE49-F238E27FC236}">
                <a16:creationId xmlns:a16="http://schemas.microsoft.com/office/drawing/2014/main" id="{C7038180-B345-ECF4-2669-FA35F6192C81}"/>
              </a:ext>
            </a:extLst>
          </p:cNvPr>
          <p:cNvPicPr>
            <a:picLocks noChangeAspect="1"/>
          </p:cNvPicPr>
          <p:nvPr/>
        </p:nvPicPr>
        <p:blipFill>
          <a:blip r:embed="rId13"/>
          <a:stretch>
            <a:fillRect/>
          </a:stretch>
        </p:blipFill>
        <p:spPr>
          <a:xfrm>
            <a:off x="10411006" y="2291403"/>
            <a:ext cx="833036" cy="918476"/>
          </a:xfrm>
          <a:prstGeom prst="rect">
            <a:avLst/>
          </a:prstGeom>
        </p:spPr>
      </p:pic>
      <p:pic>
        <p:nvPicPr>
          <p:cNvPr id="52" name="Picture 51">
            <a:extLst>
              <a:ext uri="{FF2B5EF4-FFF2-40B4-BE49-F238E27FC236}">
                <a16:creationId xmlns:a16="http://schemas.microsoft.com/office/drawing/2014/main" id="{255FDD2E-6398-29A1-2220-46F7FADCB3BE}"/>
              </a:ext>
            </a:extLst>
          </p:cNvPr>
          <p:cNvPicPr>
            <a:picLocks noChangeAspect="1"/>
          </p:cNvPicPr>
          <p:nvPr/>
        </p:nvPicPr>
        <p:blipFill>
          <a:blip r:embed="rId14"/>
          <a:stretch>
            <a:fillRect/>
          </a:stretch>
        </p:blipFill>
        <p:spPr>
          <a:xfrm>
            <a:off x="4855947" y="5601230"/>
            <a:ext cx="879659" cy="762710"/>
          </a:xfrm>
          <a:prstGeom prst="rect">
            <a:avLst/>
          </a:prstGeom>
        </p:spPr>
      </p:pic>
      <p:pic>
        <p:nvPicPr>
          <p:cNvPr id="53" name="Picture 52">
            <a:extLst>
              <a:ext uri="{FF2B5EF4-FFF2-40B4-BE49-F238E27FC236}">
                <a16:creationId xmlns:a16="http://schemas.microsoft.com/office/drawing/2014/main" id="{A30012AD-5EA7-9817-2001-E8DDE75FF537}"/>
              </a:ext>
            </a:extLst>
          </p:cNvPr>
          <p:cNvPicPr>
            <a:picLocks noChangeAspect="1"/>
          </p:cNvPicPr>
          <p:nvPr/>
        </p:nvPicPr>
        <p:blipFill>
          <a:blip r:embed="rId15"/>
          <a:stretch>
            <a:fillRect/>
          </a:stretch>
        </p:blipFill>
        <p:spPr>
          <a:xfrm>
            <a:off x="10548675" y="5697386"/>
            <a:ext cx="909815" cy="660942"/>
          </a:xfrm>
          <a:prstGeom prst="rect">
            <a:avLst/>
          </a:prstGeom>
        </p:spPr>
      </p:pic>
      <p:grpSp>
        <p:nvGrpSpPr>
          <p:cNvPr id="19" name="Group 18">
            <a:extLst>
              <a:ext uri="{FF2B5EF4-FFF2-40B4-BE49-F238E27FC236}">
                <a16:creationId xmlns:a16="http://schemas.microsoft.com/office/drawing/2014/main" id="{EC3295A1-B3E6-7457-AD71-29C4DA941401}"/>
              </a:ext>
            </a:extLst>
          </p:cNvPr>
          <p:cNvGrpSpPr/>
          <p:nvPr/>
        </p:nvGrpSpPr>
        <p:grpSpPr>
          <a:xfrm>
            <a:off x="-1071087" y="885515"/>
            <a:ext cx="7167087" cy="1000958"/>
            <a:chOff x="-1071087" y="885515"/>
            <a:chExt cx="7167087" cy="1000958"/>
          </a:xfrm>
        </p:grpSpPr>
        <p:grpSp>
          <p:nvGrpSpPr>
            <p:cNvPr id="13" name="Group 12">
              <a:extLst>
                <a:ext uri="{FF2B5EF4-FFF2-40B4-BE49-F238E27FC236}">
                  <a16:creationId xmlns:a16="http://schemas.microsoft.com/office/drawing/2014/main" id="{DE7643E2-8595-2B0F-D866-EAE1CBBA512D}"/>
                </a:ext>
              </a:extLst>
            </p:cNvPr>
            <p:cNvGrpSpPr/>
            <p:nvPr/>
          </p:nvGrpSpPr>
          <p:grpSpPr>
            <a:xfrm>
              <a:off x="-1071087" y="885515"/>
              <a:ext cx="7167087" cy="1000958"/>
              <a:chOff x="0" y="0"/>
              <a:chExt cx="2831442" cy="395440"/>
            </a:xfrm>
          </p:grpSpPr>
          <p:sp>
            <p:nvSpPr>
              <p:cNvPr id="14" name="Freeform 4">
                <a:extLst>
                  <a:ext uri="{FF2B5EF4-FFF2-40B4-BE49-F238E27FC236}">
                    <a16:creationId xmlns:a16="http://schemas.microsoft.com/office/drawing/2014/main" id="{CD0C8C09-7812-C0DB-77B5-6C3D1A84C3E0}"/>
                  </a:ext>
                </a:extLst>
              </p:cNvPr>
              <p:cNvSpPr/>
              <p:nvPr/>
            </p:nvSpPr>
            <p:spPr>
              <a:xfrm>
                <a:off x="0" y="0"/>
                <a:ext cx="2831442" cy="395440"/>
              </a:xfrm>
              <a:custGeom>
                <a:avLst/>
                <a:gdLst/>
                <a:ahLst/>
                <a:cxnLst/>
                <a:rect l="l" t="t" r="r" b="b"/>
                <a:pathLst>
                  <a:path w="2831442" h="395440">
                    <a:moveTo>
                      <a:pt x="65532" y="0"/>
                    </a:moveTo>
                    <a:lnTo>
                      <a:pt x="2765909" y="0"/>
                    </a:lnTo>
                    <a:cubicBezTo>
                      <a:pt x="2802102" y="0"/>
                      <a:pt x="2831442" y="29340"/>
                      <a:pt x="2831442" y="65532"/>
                    </a:cubicBezTo>
                    <a:lnTo>
                      <a:pt x="2831442" y="329908"/>
                    </a:lnTo>
                    <a:cubicBezTo>
                      <a:pt x="2831442" y="366100"/>
                      <a:pt x="2802102" y="395440"/>
                      <a:pt x="2765909" y="395440"/>
                    </a:cubicBezTo>
                    <a:lnTo>
                      <a:pt x="65532" y="395440"/>
                    </a:lnTo>
                    <a:cubicBezTo>
                      <a:pt x="48152" y="395440"/>
                      <a:pt x="31484" y="388536"/>
                      <a:pt x="19194" y="376246"/>
                    </a:cubicBezTo>
                    <a:cubicBezTo>
                      <a:pt x="6904" y="363956"/>
                      <a:pt x="0" y="347288"/>
                      <a:pt x="0" y="329908"/>
                    </a:cubicBezTo>
                    <a:lnTo>
                      <a:pt x="0" y="65532"/>
                    </a:lnTo>
                    <a:cubicBezTo>
                      <a:pt x="0" y="48152"/>
                      <a:pt x="6904" y="31484"/>
                      <a:pt x="19194" y="19194"/>
                    </a:cubicBezTo>
                    <a:cubicBezTo>
                      <a:pt x="31484" y="6904"/>
                      <a:pt x="48152" y="0"/>
                      <a:pt x="65532" y="0"/>
                    </a:cubicBez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15" name="TextBox 5">
                <a:extLst>
                  <a:ext uri="{FF2B5EF4-FFF2-40B4-BE49-F238E27FC236}">
                    <a16:creationId xmlns:a16="http://schemas.microsoft.com/office/drawing/2014/main" id="{E7FA1114-72D4-5BCF-1963-1C68E1A787B9}"/>
                  </a:ext>
                </a:extLst>
              </p:cNvPr>
              <p:cNvSpPr txBox="1"/>
              <p:nvPr/>
            </p:nvSpPr>
            <p:spPr>
              <a:xfrm>
                <a:off x="0" y="-76200"/>
                <a:ext cx="2831442" cy="47164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8" name="TextBox 11">
              <a:extLst>
                <a:ext uri="{FF2B5EF4-FFF2-40B4-BE49-F238E27FC236}">
                  <a16:creationId xmlns:a16="http://schemas.microsoft.com/office/drawing/2014/main" id="{BC2AE569-81CC-AE38-2EE1-C1CAA89BC972}"/>
                </a:ext>
              </a:extLst>
            </p:cNvPr>
            <p:cNvSpPr txBox="1"/>
            <p:nvPr/>
          </p:nvSpPr>
          <p:spPr>
            <a:xfrm>
              <a:off x="685800" y="984406"/>
              <a:ext cx="5228771" cy="80021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Arial Bold"/>
                  <a:cs typeface="Arial Bold"/>
                  <a:sym typeface="Arial Bold"/>
                </a:rPr>
                <a:t>SEMI Workforce Development</a:t>
              </a:r>
            </a:p>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Arial Bold"/>
                  <a:cs typeface="Arial Bold"/>
                  <a:sym typeface="Arial Bold"/>
                </a:rPr>
                <a:t>Implementation</a:t>
              </a:r>
            </a:p>
          </p:txBody>
        </p:sp>
      </p:grpSp>
    </p:spTree>
    <p:extLst>
      <p:ext uri="{BB962C8B-B14F-4D97-AF65-F5344CB8AC3E}">
        <p14:creationId xmlns:p14="http://schemas.microsoft.com/office/powerpoint/2010/main" val="2091052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0"/>
                                  </p:stCondLst>
                                  <p:childTnLst>
                                    <p:animMotion origin="layout" path="M -1.47994E-17 -4.07407E-6 L -1.47994E-17 -0.06435 " pathEditMode="relative" rAng="0" ptsTypes="AA">
                                      <p:cBhvr>
                                        <p:cTn id="6" dur="2000" fill="hold"/>
                                        <p:tgtEl>
                                          <p:spTgt spid="19"/>
                                        </p:tgtEl>
                                        <p:attrNameLst>
                                          <p:attrName>ppt_x</p:attrName>
                                          <p:attrName>ppt_y</p:attrName>
                                        </p:attrNameLst>
                                      </p:cBhvr>
                                      <p:rCtr x="0" y="-321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grpSp>
        <p:nvGrpSpPr>
          <p:cNvPr id="3" name="Group 3"/>
          <p:cNvGrpSpPr/>
          <p:nvPr/>
        </p:nvGrpSpPr>
        <p:grpSpPr>
          <a:xfrm>
            <a:off x="-1071087" y="885515"/>
            <a:ext cx="7167087" cy="1000958"/>
            <a:chOff x="0" y="0"/>
            <a:chExt cx="2831442" cy="395440"/>
          </a:xfrm>
        </p:grpSpPr>
        <p:sp>
          <p:nvSpPr>
            <p:cNvPr id="4" name="Freeform 4"/>
            <p:cNvSpPr/>
            <p:nvPr/>
          </p:nvSpPr>
          <p:spPr>
            <a:xfrm>
              <a:off x="0" y="0"/>
              <a:ext cx="2831442" cy="395440"/>
            </a:xfrm>
            <a:custGeom>
              <a:avLst/>
              <a:gdLst/>
              <a:ahLst/>
              <a:cxnLst/>
              <a:rect l="l" t="t" r="r" b="b"/>
              <a:pathLst>
                <a:path w="2831442" h="395440">
                  <a:moveTo>
                    <a:pt x="65532" y="0"/>
                  </a:moveTo>
                  <a:lnTo>
                    <a:pt x="2765909" y="0"/>
                  </a:lnTo>
                  <a:cubicBezTo>
                    <a:pt x="2802102" y="0"/>
                    <a:pt x="2831442" y="29340"/>
                    <a:pt x="2831442" y="65532"/>
                  </a:cubicBezTo>
                  <a:lnTo>
                    <a:pt x="2831442" y="329908"/>
                  </a:lnTo>
                  <a:cubicBezTo>
                    <a:pt x="2831442" y="366100"/>
                    <a:pt x="2802102" y="395440"/>
                    <a:pt x="2765909" y="395440"/>
                  </a:cubicBezTo>
                  <a:lnTo>
                    <a:pt x="65532" y="395440"/>
                  </a:lnTo>
                  <a:cubicBezTo>
                    <a:pt x="48152" y="395440"/>
                    <a:pt x="31484" y="388536"/>
                    <a:pt x="19194" y="376246"/>
                  </a:cubicBezTo>
                  <a:cubicBezTo>
                    <a:pt x="6904" y="363956"/>
                    <a:pt x="0" y="347288"/>
                    <a:pt x="0" y="329908"/>
                  </a:cubicBezTo>
                  <a:lnTo>
                    <a:pt x="0" y="65532"/>
                  </a:lnTo>
                  <a:cubicBezTo>
                    <a:pt x="0" y="48152"/>
                    <a:pt x="6904" y="31484"/>
                    <a:pt x="19194" y="19194"/>
                  </a:cubicBezTo>
                  <a:cubicBezTo>
                    <a:pt x="31484" y="6904"/>
                    <a:pt x="48152" y="0"/>
                    <a:pt x="65532" y="0"/>
                  </a:cubicBez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5" name="TextBox 5"/>
            <p:cNvSpPr txBox="1"/>
            <p:nvPr/>
          </p:nvSpPr>
          <p:spPr>
            <a:xfrm>
              <a:off x="0" y="-76200"/>
              <a:ext cx="2831442" cy="47164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6" name="Freeform 6"/>
          <p:cNvSpPr/>
          <p:nvPr/>
        </p:nvSpPr>
        <p:spPr>
          <a:xfrm flipH="1">
            <a:off x="10480370" y="-511305"/>
            <a:ext cx="2560418" cy="3341492"/>
          </a:xfrm>
          <a:custGeom>
            <a:avLst/>
            <a:gdLst/>
            <a:ahLst/>
            <a:cxnLst/>
            <a:rect l="l" t="t" r="r" b="b"/>
            <a:pathLst>
              <a:path w="3840627" h="5012238">
                <a:moveTo>
                  <a:pt x="3840627" y="0"/>
                </a:moveTo>
                <a:lnTo>
                  <a:pt x="0" y="0"/>
                </a:lnTo>
                <a:lnTo>
                  <a:pt x="0" y="5012238"/>
                </a:lnTo>
                <a:lnTo>
                  <a:pt x="3840627" y="5012238"/>
                </a:lnTo>
                <a:lnTo>
                  <a:pt x="3840627"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7" name="Group 7"/>
          <p:cNvGrpSpPr/>
          <p:nvPr/>
        </p:nvGrpSpPr>
        <p:grpSpPr>
          <a:xfrm>
            <a:off x="-333069" y="6555699"/>
            <a:ext cx="12994208" cy="629923"/>
            <a:chOff x="0" y="0"/>
            <a:chExt cx="5133514" cy="248858"/>
          </a:xfrm>
        </p:grpSpPr>
        <p:sp>
          <p:nvSpPr>
            <p:cNvPr id="8" name="Freeform 8"/>
            <p:cNvSpPr/>
            <p:nvPr/>
          </p:nvSpPr>
          <p:spPr>
            <a:xfrm>
              <a:off x="0" y="0"/>
              <a:ext cx="5133514" cy="248858"/>
            </a:xfrm>
            <a:custGeom>
              <a:avLst/>
              <a:gdLst/>
              <a:ahLst/>
              <a:cxnLst/>
              <a:rect l="l" t="t" r="r" b="b"/>
              <a:pathLst>
                <a:path w="5133514" h="248858">
                  <a:moveTo>
                    <a:pt x="0" y="0"/>
                  </a:moveTo>
                  <a:lnTo>
                    <a:pt x="5133514" y="0"/>
                  </a:lnTo>
                  <a:lnTo>
                    <a:pt x="5133514" y="248858"/>
                  </a:lnTo>
                  <a:lnTo>
                    <a:pt x="0" y="248858"/>
                  </a:ln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9" name="TextBox 9"/>
            <p:cNvSpPr txBox="1"/>
            <p:nvPr/>
          </p:nvSpPr>
          <p:spPr>
            <a:xfrm>
              <a:off x="0" y="-76200"/>
              <a:ext cx="5133514" cy="32505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0" name="Freeform 10"/>
          <p:cNvSpPr/>
          <p:nvPr/>
        </p:nvSpPr>
        <p:spPr>
          <a:xfrm>
            <a:off x="8175567" y="134002"/>
            <a:ext cx="2235344" cy="440571"/>
          </a:xfrm>
          <a:custGeom>
            <a:avLst/>
            <a:gdLst/>
            <a:ahLst/>
            <a:cxnLst/>
            <a:rect l="l" t="t" r="r" b="b"/>
            <a:pathLst>
              <a:path w="3353016" h="660856">
                <a:moveTo>
                  <a:pt x="0" y="0"/>
                </a:moveTo>
                <a:lnTo>
                  <a:pt x="3353015" y="0"/>
                </a:lnTo>
                <a:lnTo>
                  <a:pt x="3353015" y="660856"/>
                </a:lnTo>
                <a:lnTo>
                  <a:pt x="0" y="660856"/>
                </a:lnTo>
                <a:lnTo>
                  <a:pt x="0" y="0"/>
                </a:lnTo>
                <a:close/>
              </a:path>
            </a:pathLst>
          </a:custGeom>
          <a:blipFill>
            <a:blip r:embed="rId7"/>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45" name="TextBox 15">
            <a:extLst>
              <a:ext uri="{FF2B5EF4-FFF2-40B4-BE49-F238E27FC236}">
                <a16:creationId xmlns:a16="http://schemas.microsoft.com/office/drawing/2014/main" id="{E3EA16E7-83E9-ABA7-7FC6-194F03961A6A}"/>
              </a:ext>
            </a:extLst>
          </p:cNvPr>
          <p:cNvSpPr txBox="1"/>
          <p:nvPr/>
        </p:nvSpPr>
        <p:spPr>
          <a:xfrm>
            <a:off x="3295907" y="2206552"/>
            <a:ext cx="2675923" cy="395258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51" name="TextBox 15">
            <a:extLst>
              <a:ext uri="{FF2B5EF4-FFF2-40B4-BE49-F238E27FC236}">
                <a16:creationId xmlns:a16="http://schemas.microsoft.com/office/drawing/2014/main" id="{53714B22-D058-8935-16B6-E01C42BCEAEB}"/>
              </a:ext>
            </a:extLst>
          </p:cNvPr>
          <p:cNvSpPr txBox="1"/>
          <p:nvPr/>
        </p:nvSpPr>
        <p:spPr>
          <a:xfrm>
            <a:off x="9142262" y="2225436"/>
            <a:ext cx="2675923" cy="395258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17" name="Group 16">
            <a:extLst>
              <a:ext uri="{FF2B5EF4-FFF2-40B4-BE49-F238E27FC236}">
                <a16:creationId xmlns:a16="http://schemas.microsoft.com/office/drawing/2014/main" id="{865589B1-6AFC-3CA4-E64C-AFE1A76688C5}"/>
              </a:ext>
            </a:extLst>
          </p:cNvPr>
          <p:cNvGrpSpPr/>
          <p:nvPr/>
        </p:nvGrpSpPr>
        <p:grpSpPr>
          <a:xfrm>
            <a:off x="782397" y="2025097"/>
            <a:ext cx="10774522" cy="4313677"/>
            <a:chOff x="1065423" y="3027823"/>
            <a:chExt cx="16161784" cy="6470515"/>
          </a:xfrm>
        </p:grpSpPr>
        <p:grpSp>
          <p:nvGrpSpPr>
            <p:cNvPr id="14" name="Group 13">
              <a:extLst>
                <a:ext uri="{FF2B5EF4-FFF2-40B4-BE49-F238E27FC236}">
                  <a16:creationId xmlns:a16="http://schemas.microsoft.com/office/drawing/2014/main" id="{B04381A5-4E3F-A035-5427-607C841A0562}"/>
                </a:ext>
              </a:extLst>
            </p:cNvPr>
            <p:cNvGrpSpPr/>
            <p:nvPr/>
          </p:nvGrpSpPr>
          <p:grpSpPr>
            <a:xfrm>
              <a:off x="1065423" y="3027823"/>
              <a:ext cx="4572001" cy="6470515"/>
              <a:chOff x="2137215" y="2940775"/>
              <a:chExt cx="4572001" cy="6470515"/>
            </a:xfrm>
          </p:grpSpPr>
          <p:sp>
            <p:nvSpPr>
              <p:cNvPr id="43" name="Freeform 14">
                <a:extLst>
                  <a:ext uri="{FF2B5EF4-FFF2-40B4-BE49-F238E27FC236}">
                    <a16:creationId xmlns:a16="http://schemas.microsoft.com/office/drawing/2014/main" id="{6E945945-D78E-E62F-49C0-CA9674C20B43}"/>
                  </a:ext>
                </a:extLst>
              </p:cNvPr>
              <p:cNvSpPr/>
              <p:nvPr/>
            </p:nvSpPr>
            <p:spPr>
              <a:xfrm>
                <a:off x="2137215" y="3700149"/>
                <a:ext cx="4572000" cy="5711141"/>
              </a:xfrm>
              <a:custGeom>
                <a:avLst/>
                <a:gdLst/>
                <a:ahLst/>
                <a:cxnLst/>
                <a:rect l="l" t="t" r="r" b="b"/>
                <a:pathLst>
                  <a:path w="1332389" h="1499008">
                    <a:moveTo>
                      <a:pt x="82639" y="0"/>
                    </a:moveTo>
                    <a:lnTo>
                      <a:pt x="1249750" y="0"/>
                    </a:lnTo>
                    <a:cubicBezTo>
                      <a:pt x="1295390" y="0"/>
                      <a:pt x="1332389" y="36999"/>
                      <a:pt x="1332389" y="82639"/>
                    </a:cubicBezTo>
                    <a:lnTo>
                      <a:pt x="1332389" y="1416369"/>
                    </a:lnTo>
                    <a:cubicBezTo>
                      <a:pt x="1332389" y="1462010"/>
                      <a:pt x="1295390" y="1499008"/>
                      <a:pt x="1249750" y="1499008"/>
                    </a:cubicBezTo>
                    <a:lnTo>
                      <a:pt x="82639" y="1499008"/>
                    </a:lnTo>
                    <a:cubicBezTo>
                      <a:pt x="36999" y="1499008"/>
                      <a:pt x="0" y="1462010"/>
                      <a:pt x="0" y="1416369"/>
                    </a:cubicBezTo>
                    <a:lnTo>
                      <a:pt x="0" y="82639"/>
                    </a:lnTo>
                    <a:cubicBezTo>
                      <a:pt x="0" y="36999"/>
                      <a:pt x="36999" y="0"/>
                      <a:pt x="82639" y="0"/>
                    </a:cubicBezTo>
                    <a:close/>
                  </a:path>
                </a:pathLst>
              </a:custGeom>
              <a:solidFill>
                <a:srgbClr val="FFC82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23" name="Group 23"/>
              <p:cNvGrpSpPr/>
              <p:nvPr/>
            </p:nvGrpSpPr>
            <p:grpSpPr>
              <a:xfrm>
                <a:off x="3827862" y="2940775"/>
                <a:ext cx="1190707" cy="1256199"/>
                <a:chOff x="0" y="-87323"/>
                <a:chExt cx="1587609" cy="1674932"/>
              </a:xfrm>
            </p:grpSpPr>
            <p:grpSp>
              <p:nvGrpSpPr>
                <p:cNvPr id="24" name="Group 24"/>
                <p:cNvGrpSpPr/>
                <p:nvPr/>
              </p:nvGrpSpPr>
              <p:grpSpPr>
                <a:xfrm>
                  <a:off x="0" y="0"/>
                  <a:ext cx="1587609" cy="1587609"/>
                  <a:chOff x="0" y="0"/>
                  <a:chExt cx="812800" cy="812800"/>
                </a:xfrm>
              </p:grpSpPr>
              <p:sp>
                <p:nvSpPr>
                  <p:cNvPr id="25" name="Freeform 2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5AB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26" name="TextBox 26"/>
                  <p:cNvSpPr txBox="1"/>
                  <p:nvPr/>
                </p:nvSpPr>
                <p:spPr>
                  <a:xfrm>
                    <a:off x="76200" y="19050"/>
                    <a:ext cx="660400" cy="71755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27" name="TextBox 27"/>
                <p:cNvSpPr txBox="1"/>
                <p:nvPr/>
              </p:nvSpPr>
              <p:spPr>
                <a:xfrm>
                  <a:off x="351128" y="-87323"/>
                  <a:ext cx="885354" cy="1562231"/>
                </a:xfrm>
                <a:prstGeom prst="rect">
                  <a:avLst/>
                </a:prstGeom>
              </p:spPr>
              <p:txBody>
                <a:bodyPr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6278"/>
                    </a:lnSpc>
                    <a:spcBef>
                      <a:spcPct val="0"/>
                    </a:spcBef>
                    <a:spcAft>
                      <a:spcPts val="0"/>
                    </a:spcAft>
                    <a:buClrTx/>
                    <a:buSzTx/>
                    <a:buFontTx/>
                    <a:buNone/>
                    <a:tabLst/>
                    <a:defRPr/>
                  </a:pPr>
                  <a:r>
                    <a:rPr kumimoji="0" lang="en-US" sz="4485" b="1" i="0" u="none" strike="noStrike" kern="1200" cap="none" spc="0" normalizeH="0" baseline="0" noProof="0">
                      <a:ln>
                        <a:noFill/>
                      </a:ln>
                      <a:solidFill>
                        <a:srgbClr val="FFFFFF"/>
                      </a:solidFill>
                      <a:effectLst/>
                      <a:uLnTx/>
                      <a:uFillTx/>
                      <a:latin typeface="Poppins Bold"/>
                      <a:ea typeface="Poppins Bold"/>
                      <a:cs typeface="Poppins Bold"/>
                      <a:sym typeface="Poppins Bold"/>
                    </a:rPr>
                    <a:t>1</a:t>
                  </a:r>
                </a:p>
              </p:txBody>
            </p:sp>
          </p:grpSp>
          <p:sp>
            <p:nvSpPr>
              <p:cNvPr id="42" name="TextBox 42"/>
              <p:cNvSpPr txBox="1"/>
              <p:nvPr/>
            </p:nvSpPr>
            <p:spPr>
              <a:xfrm>
                <a:off x="2374148" y="5258593"/>
                <a:ext cx="4335068" cy="267765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285750" marR="0" lvl="0" indent="-285750" algn="l" defTabSz="609539" rtl="0" eaLnBrk="1" fontAlgn="auto" latinLnBrk="0" hangingPunct="1">
                  <a:lnSpc>
                    <a:spcPct val="100000"/>
                  </a:lnSpc>
                  <a:spcBef>
                    <a:spcPts val="0"/>
                  </a:spcBef>
                  <a:spcAft>
                    <a:spcPts val="60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Arial"/>
                    <a:cs typeface="Calibri" panose="020F0502020204030204" pitchFamily="34" charset="0"/>
                    <a:sym typeface="Arial"/>
                  </a:rPr>
                  <a:t>Inventory</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Arial"/>
                    <a:cs typeface="Calibri" panose="020F0502020204030204" pitchFamily="34" charset="0"/>
                  </a:rPr>
                  <a:t>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Arial"/>
                    <a:cs typeface="Calibri" panose="020F0502020204030204" pitchFamily="34" charset="0"/>
                    <a:sym typeface="Arial"/>
                  </a:rPr>
                  <a:t>ME Curriculum</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Arial"/>
                  <a:cs typeface="Calibri" panose="020F0502020204030204" pitchFamily="34" charset="0"/>
                </a:endParaRPr>
              </a:p>
              <a:p>
                <a:pPr marL="285750" marR="0" lvl="0" indent="-285750" algn="l" defTabSz="609539" rtl="0" eaLnBrk="1" fontAlgn="auto" latinLnBrk="0" hangingPunct="1">
                  <a:lnSpc>
                    <a:spcPct val="100000"/>
                  </a:lnSpc>
                  <a:spcBef>
                    <a:spcPts val="0"/>
                  </a:spcBef>
                  <a:spcAft>
                    <a:spcPts val="60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Arial"/>
                    <a:cs typeface="Calibri" panose="020F0502020204030204" pitchFamily="34" charset="0"/>
                  </a:rPr>
                  <a:t>Modernize Training Programs</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609539" rtl="0" eaLnBrk="1" fontAlgn="auto" latinLnBrk="0" hangingPunct="1">
                  <a:lnSpc>
                    <a:spcPct val="100000"/>
                  </a:lnSpc>
                  <a:spcBef>
                    <a:spcPts val="0"/>
                  </a:spcBef>
                  <a:spcAft>
                    <a:spcPts val="60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Arial"/>
                    <a:cs typeface="Calibri" panose="020F0502020204030204" pitchFamily="34" charset="0"/>
                  </a:rPr>
                  <a:t>Digital Resource Portal</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609539" rtl="0" eaLnBrk="1" fontAlgn="auto" latinLnBrk="0" hangingPunct="1">
                  <a:lnSpc>
                    <a:spcPct val="100000"/>
                  </a:lnSpc>
                  <a:spcBef>
                    <a:spcPts val="0"/>
                  </a:spcBef>
                  <a:spcAft>
                    <a:spcPts val="60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orkforce Supply &amp; Demand Mapping</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609539" rtl="0" eaLnBrk="1" fontAlgn="auto" latinLnBrk="0" hangingPunct="1">
                  <a:lnSpc>
                    <a:spcPct val="100000"/>
                  </a:lnSpc>
                  <a:spcBef>
                    <a:spcPts val="0"/>
                  </a:spcBef>
                  <a:spcAft>
                    <a:spcPts val="60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ducator Technical Suppor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2" name="TextBox 22"/>
              <p:cNvSpPr txBox="1"/>
              <p:nvPr/>
            </p:nvSpPr>
            <p:spPr>
              <a:xfrm>
                <a:off x="2660991" y="4541057"/>
                <a:ext cx="3524450" cy="415498"/>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Arial Bold"/>
                  </a:rPr>
                  <a:t>Curriculum &amp; Training</a:t>
                </a:r>
                <a:endPar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FC44FB60-C2DD-E277-F3C0-4580D2C12526}"/>
                </a:ext>
              </a:extLst>
            </p:cNvPr>
            <p:cNvGrpSpPr/>
            <p:nvPr/>
          </p:nvGrpSpPr>
          <p:grpSpPr>
            <a:xfrm>
              <a:off x="12647969" y="3027823"/>
              <a:ext cx="4579238" cy="6470515"/>
              <a:chOff x="12734102" y="3006262"/>
              <a:chExt cx="4579238" cy="6470515"/>
            </a:xfrm>
          </p:grpSpPr>
          <p:sp>
            <p:nvSpPr>
              <p:cNvPr id="21" name="Freeform 14">
                <a:extLst>
                  <a:ext uri="{FF2B5EF4-FFF2-40B4-BE49-F238E27FC236}">
                    <a16:creationId xmlns:a16="http://schemas.microsoft.com/office/drawing/2014/main" id="{9147C3AB-F3DD-DCEB-5F68-6CF7FE8279E7}"/>
                  </a:ext>
                </a:extLst>
              </p:cNvPr>
              <p:cNvSpPr/>
              <p:nvPr/>
            </p:nvSpPr>
            <p:spPr>
              <a:xfrm>
                <a:off x="12734102" y="3765636"/>
                <a:ext cx="4572000" cy="5711141"/>
              </a:xfrm>
              <a:custGeom>
                <a:avLst/>
                <a:gdLst/>
                <a:ahLst/>
                <a:cxnLst/>
                <a:rect l="l" t="t" r="r" b="b"/>
                <a:pathLst>
                  <a:path w="1332389" h="1499008">
                    <a:moveTo>
                      <a:pt x="82639" y="0"/>
                    </a:moveTo>
                    <a:lnTo>
                      <a:pt x="1249750" y="0"/>
                    </a:lnTo>
                    <a:cubicBezTo>
                      <a:pt x="1295390" y="0"/>
                      <a:pt x="1332389" y="36999"/>
                      <a:pt x="1332389" y="82639"/>
                    </a:cubicBezTo>
                    <a:lnTo>
                      <a:pt x="1332389" y="1416369"/>
                    </a:lnTo>
                    <a:cubicBezTo>
                      <a:pt x="1332389" y="1462010"/>
                      <a:pt x="1295390" y="1499008"/>
                      <a:pt x="1249750" y="1499008"/>
                    </a:cubicBezTo>
                    <a:lnTo>
                      <a:pt x="82639" y="1499008"/>
                    </a:lnTo>
                    <a:cubicBezTo>
                      <a:pt x="36999" y="1499008"/>
                      <a:pt x="0" y="1462010"/>
                      <a:pt x="0" y="1416369"/>
                    </a:cubicBezTo>
                    <a:lnTo>
                      <a:pt x="0" y="82639"/>
                    </a:lnTo>
                    <a:cubicBezTo>
                      <a:pt x="0" y="36999"/>
                      <a:pt x="36999" y="0"/>
                      <a:pt x="82639" y="0"/>
                    </a:cubicBezTo>
                    <a:close/>
                  </a:path>
                </a:pathLst>
              </a:custGeom>
              <a:solidFill>
                <a:srgbClr val="FFC82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33" name="Group 33"/>
              <p:cNvGrpSpPr/>
              <p:nvPr/>
            </p:nvGrpSpPr>
            <p:grpSpPr>
              <a:xfrm>
                <a:off x="14424749" y="3006262"/>
                <a:ext cx="1190707" cy="1256199"/>
                <a:chOff x="0" y="-87323"/>
                <a:chExt cx="1587609" cy="1674932"/>
              </a:xfrm>
            </p:grpSpPr>
            <p:grpSp>
              <p:nvGrpSpPr>
                <p:cNvPr id="34" name="Group 34"/>
                <p:cNvGrpSpPr/>
                <p:nvPr/>
              </p:nvGrpSpPr>
              <p:grpSpPr>
                <a:xfrm>
                  <a:off x="0" y="0"/>
                  <a:ext cx="1587609" cy="1587609"/>
                  <a:chOff x="0" y="0"/>
                  <a:chExt cx="812800" cy="812800"/>
                </a:xfrm>
              </p:grpSpPr>
              <p:sp>
                <p:nvSpPr>
                  <p:cNvPr id="35" name="Freeform 3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5AB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36" name="TextBox 36"/>
                  <p:cNvSpPr txBox="1"/>
                  <p:nvPr/>
                </p:nvSpPr>
                <p:spPr>
                  <a:xfrm>
                    <a:off x="76200" y="19050"/>
                    <a:ext cx="660400" cy="71755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37" name="TextBox 37"/>
                <p:cNvSpPr txBox="1"/>
                <p:nvPr/>
              </p:nvSpPr>
              <p:spPr>
                <a:xfrm>
                  <a:off x="351128" y="-87323"/>
                  <a:ext cx="885354" cy="1562231"/>
                </a:xfrm>
                <a:prstGeom prst="rect">
                  <a:avLst/>
                </a:prstGeom>
              </p:spPr>
              <p:txBody>
                <a:bodyPr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6278"/>
                    </a:lnSpc>
                    <a:spcBef>
                      <a:spcPct val="0"/>
                    </a:spcBef>
                    <a:spcAft>
                      <a:spcPts val="0"/>
                    </a:spcAft>
                    <a:buClrTx/>
                    <a:buSzTx/>
                    <a:buFontTx/>
                    <a:buNone/>
                    <a:tabLst/>
                    <a:defRPr/>
                  </a:pPr>
                  <a:r>
                    <a:rPr kumimoji="0" lang="en-US" sz="4485" b="1" i="0" u="none" strike="noStrike" kern="1200" cap="none" spc="0" normalizeH="0" baseline="0" noProof="0">
                      <a:ln>
                        <a:noFill/>
                      </a:ln>
                      <a:solidFill>
                        <a:srgbClr val="FFFFFF"/>
                      </a:solidFill>
                      <a:effectLst/>
                      <a:uLnTx/>
                      <a:uFillTx/>
                      <a:latin typeface="Poppins Bold"/>
                      <a:ea typeface="Poppins Bold"/>
                      <a:cs typeface="Poppins Bold"/>
                      <a:sym typeface="Poppins Bold"/>
                    </a:rPr>
                    <a:t>3</a:t>
                  </a:r>
                </a:p>
              </p:txBody>
            </p:sp>
          </p:grpSp>
          <p:sp>
            <p:nvSpPr>
              <p:cNvPr id="40" name="TextBox 40"/>
              <p:cNvSpPr txBox="1"/>
              <p:nvPr/>
            </p:nvSpPr>
            <p:spPr>
              <a:xfrm>
                <a:off x="12956569" y="5323228"/>
                <a:ext cx="4356771" cy="207749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285750" marR="0" lvl="0" indent="-285750" algn="l" defTabSz="609539" rtl="0" eaLnBrk="1" fontAlgn="auto" latinLnBrk="0" hangingPunct="1">
                  <a:lnSpc>
                    <a:spcPct val="100000"/>
                  </a:lnSpc>
                  <a:spcBef>
                    <a:spcPts val="0"/>
                  </a:spcBef>
                  <a:spcAft>
                    <a:spcPts val="60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Arial"/>
                  </a:rPr>
                  <a:t>Support</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National Workforce Network</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609539" rtl="0" eaLnBrk="1" fontAlgn="auto" latinLnBrk="0" hangingPunct="1">
                  <a:lnSpc>
                    <a:spcPct val="100000"/>
                  </a:lnSpc>
                  <a:spcBef>
                    <a:spcPts val="0"/>
                  </a:spcBef>
                  <a:spcAft>
                    <a:spcPts val="60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levate Best Practices</a:t>
                </a:r>
              </a:p>
              <a:p>
                <a:pPr marL="285750" marR="0" lvl="0" indent="-285750" algn="l" defTabSz="609539" rtl="0" eaLnBrk="1" fontAlgn="auto" latinLnBrk="0" hangingPunct="1">
                  <a:lnSpc>
                    <a:spcPct val="100000"/>
                  </a:lnSpc>
                  <a:spcBef>
                    <a:spcPts val="0"/>
                  </a:spcBef>
                  <a:spcAft>
                    <a:spcPts val="60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llaborate Across Federal Investments</a:t>
                </a:r>
              </a:p>
            </p:txBody>
          </p:sp>
          <p:sp>
            <p:nvSpPr>
              <p:cNvPr id="39" name="TextBox 39"/>
              <p:cNvSpPr txBox="1"/>
              <p:nvPr/>
            </p:nvSpPr>
            <p:spPr>
              <a:xfrm>
                <a:off x="13261507" y="4604437"/>
                <a:ext cx="3517190" cy="415498"/>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Arial Bold"/>
                  </a:rPr>
                  <a:t>Network &amp; Access</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nvGrpSpPr>
            <p:cNvPr id="15" name="Group 14">
              <a:extLst>
                <a:ext uri="{FF2B5EF4-FFF2-40B4-BE49-F238E27FC236}">
                  <a16:creationId xmlns:a16="http://schemas.microsoft.com/office/drawing/2014/main" id="{89EA1575-4F37-AAC5-31AF-B77571142A62}"/>
                </a:ext>
              </a:extLst>
            </p:cNvPr>
            <p:cNvGrpSpPr/>
            <p:nvPr/>
          </p:nvGrpSpPr>
          <p:grpSpPr>
            <a:xfrm>
              <a:off x="6858000" y="3041353"/>
              <a:ext cx="4572000" cy="6456985"/>
              <a:chOff x="7614450" y="2974698"/>
              <a:chExt cx="4572000" cy="6456985"/>
            </a:xfrm>
          </p:grpSpPr>
          <p:sp>
            <p:nvSpPr>
              <p:cNvPr id="19" name="Freeform 14">
                <a:extLst>
                  <a:ext uri="{FF2B5EF4-FFF2-40B4-BE49-F238E27FC236}">
                    <a16:creationId xmlns:a16="http://schemas.microsoft.com/office/drawing/2014/main" id="{D7BEF99D-B568-BA1B-271F-01CB49F7E143}"/>
                  </a:ext>
                </a:extLst>
              </p:cNvPr>
              <p:cNvSpPr/>
              <p:nvPr/>
            </p:nvSpPr>
            <p:spPr>
              <a:xfrm>
                <a:off x="7614450" y="3720542"/>
                <a:ext cx="4572000" cy="5711141"/>
              </a:xfrm>
              <a:custGeom>
                <a:avLst/>
                <a:gdLst/>
                <a:ahLst/>
                <a:cxnLst/>
                <a:rect l="l" t="t" r="r" b="b"/>
                <a:pathLst>
                  <a:path w="1332389" h="1499008">
                    <a:moveTo>
                      <a:pt x="82639" y="0"/>
                    </a:moveTo>
                    <a:lnTo>
                      <a:pt x="1249750" y="0"/>
                    </a:lnTo>
                    <a:cubicBezTo>
                      <a:pt x="1295390" y="0"/>
                      <a:pt x="1332389" y="36999"/>
                      <a:pt x="1332389" y="82639"/>
                    </a:cubicBezTo>
                    <a:lnTo>
                      <a:pt x="1332389" y="1416369"/>
                    </a:lnTo>
                    <a:cubicBezTo>
                      <a:pt x="1332389" y="1462010"/>
                      <a:pt x="1295390" y="1499008"/>
                      <a:pt x="1249750" y="1499008"/>
                    </a:cubicBezTo>
                    <a:lnTo>
                      <a:pt x="82639" y="1499008"/>
                    </a:lnTo>
                    <a:cubicBezTo>
                      <a:pt x="36999" y="1499008"/>
                      <a:pt x="0" y="1462010"/>
                      <a:pt x="0" y="1416369"/>
                    </a:cubicBezTo>
                    <a:lnTo>
                      <a:pt x="0" y="82639"/>
                    </a:lnTo>
                    <a:cubicBezTo>
                      <a:pt x="0" y="36999"/>
                      <a:pt x="36999" y="0"/>
                      <a:pt x="82639" y="0"/>
                    </a:cubicBezTo>
                    <a:close/>
                  </a:path>
                </a:pathLst>
              </a:custGeom>
              <a:solidFill>
                <a:srgbClr val="FFC82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38" name="TextBox 38"/>
              <p:cNvSpPr txBox="1"/>
              <p:nvPr/>
            </p:nvSpPr>
            <p:spPr>
              <a:xfrm>
                <a:off x="8136068" y="4559343"/>
                <a:ext cx="3522675" cy="32316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ct val="0"/>
                  </a:spcBef>
                  <a:spcAft>
                    <a:spcPts val="40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panose="020B0604020202020204" pitchFamily="34" charset="0"/>
                  <a:ea typeface="Arial Bold"/>
                  <a:cs typeface="Arial" panose="020B0604020202020204" pitchFamily="34" charset="0"/>
                </a:endParaRPr>
              </a:p>
            </p:txBody>
          </p:sp>
          <p:sp>
            <p:nvSpPr>
              <p:cNvPr id="41" name="TextBox 41"/>
              <p:cNvSpPr txBox="1"/>
              <p:nvPr/>
            </p:nvSpPr>
            <p:spPr>
              <a:xfrm>
                <a:off x="7849253" y="5273266"/>
                <a:ext cx="3943728" cy="207749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285750" marR="0" lvl="0" indent="-285750" algn="l" defTabSz="6095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Arial"/>
                  </a:rPr>
                  <a:t>National</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wareness Campaign</a:t>
                </a:r>
              </a:p>
              <a:p>
                <a:pPr marL="285750" marR="0" lvl="0" indent="-285750" algn="l" defTabSz="609539" rtl="0" eaLnBrk="1" fontAlgn="auto" latinLnBrk="0" hangingPunct="1">
                  <a:lnSpc>
                    <a:spcPct val="100000"/>
                  </a:lnSpc>
                  <a:spcBef>
                    <a:spcPts val="0"/>
                  </a:spcBef>
                  <a:spcAft>
                    <a:spcPts val="60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seminate Outreach Toolkits</a:t>
                </a:r>
              </a:p>
              <a:p>
                <a:pPr marL="285750" marR="0" lvl="0" indent="-285750" algn="l" defTabSz="609539" rtl="0" eaLnBrk="1" fontAlgn="auto" latinLnBrk="0" hangingPunct="1">
                  <a:lnSpc>
                    <a:spcPct val="100000"/>
                  </a:lnSpc>
                  <a:spcBef>
                    <a:spcPts val="0"/>
                  </a:spcBef>
                  <a:spcAft>
                    <a:spcPts val="60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dustry Awareness Portal</a:t>
                </a:r>
              </a:p>
            </p:txBody>
          </p:sp>
          <p:grpSp>
            <p:nvGrpSpPr>
              <p:cNvPr id="28" name="Group 28"/>
              <p:cNvGrpSpPr/>
              <p:nvPr/>
            </p:nvGrpSpPr>
            <p:grpSpPr>
              <a:xfrm>
                <a:off x="9305097" y="2974698"/>
                <a:ext cx="1190707" cy="1256199"/>
                <a:chOff x="0" y="-87323"/>
                <a:chExt cx="1587609" cy="1674932"/>
              </a:xfrm>
            </p:grpSpPr>
            <p:grpSp>
              <p:nvGrpSpPr>
                <p:cNvPr id="29" name="Group 29"/>
                <p:cNvGrpSpPr/>
                <p:nvPr/>
              </p:nvGrpSpPr>
              <p:grpSpPr>
                <a:xfrm>
                  <a:off x="0" y="0"/>
                  <a:ext cx="1587609" cy="1587609"/>
                  <a:chOff x="0" y="0"/>
                  <a:chExt cx="812800" cy="812800"/>
                </a:xfrm>
              </p:grpSpPr>
              <p:sp>
                <p:nvSpPr>
                  <p:cNvPr id="30" name="Freeform 3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5AB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31" name="TextBox 31"/>
                  <p:cNvSpPr txBox="1"/>
                  <p:nvPr/>
                </p:nvSpPr>
                <p:spPr>
                  <a:xfrm>
                    <a:off x="76200" y="19050"/>
                    <a:ext cx="660400" cy="71755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32" name="TextBox 32"/>
                <p:cNvSpPr txBox="1"/>
                <p:nvPr/>
              </p:nvSpPr>
              <p:spPr>
                <a:xfrm>
                  <a:off x="351128" y="-87323"/>
                  <a:ext cx="885354" cy="1562231"/>
                </a:xfrm>
                <a:prstGeom prst="rect">
                  <a:avLst/>
                </a:prstGeom>
              </p:spPr>
              <p:txBody>
                <a:bodyPr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6278"/>
                    </a:lnSpc>
                    <a:spcBef>
                      <a:spcPct val="0"/>
                    </a:spcBef>
                    <a:spcAft>
                      <a:spcPts val="0"/>
                    </a:spcAft>
                    <a:buClrTx/>
                    <a:buSzTx/>
                    <a:buFontTx/>
                    <a:buNone/>
                    <a:tabLst/>
                    <a:defRPr/>
                  </a:pPr>
                  <a:r>
                    <a:rPr kumimoji="0" lang="en-US" sz="4485" b="1" i="0" u="none" strike="noStrike" kern="1200" cap="none" spc="0" normalizeH="0" baseline="0" noProof="0">
                      <a:ln>
                        <a:noFill/>
                      </a:ln>
                      <a:solidFill>
                        <a:srgbClr val="FFFFFF"/>
                      </a:solidFill>
                      <a:effectLst/>
                      <a:uLnTx/>
                      <a:uFillTx/>
                      <a:latin typeface="Poppins Bold"/>
                      <a:ea typeface="Poppins Bold"/>
                      <a:cs typeface="Poppins Bold"/>
                      <a:sym typeface="Poppins Bold"/>
                    </a:rPr>
                    <a:t>2</a:t>
                  </a:r>
                </a:p>
              </p:txBody>
            </p:sp>
          </p:grpSp>
        </p:grpSp>
      </p:grpSp>
      <p:sp>
        <p:nvSpPr>
          <p:cNvPr id="12" name="TextBox 11">
            <a:extLst>
              <a:ext uri="{FF2B5EF4-FFF2-40B4-BE49-F238E27FC236}">
                <a16:creationId xmlns:a16="http://schemas.microsoft.com/office/drawing/2014/main" id="{B879E2C7-60F0-A1CE-2E7F-EF9F519E857A}"/>
              </a:ext>
            </a:extLst>
          </p:cNvPr>
          <p:cNvSpPr txBox="1"/>
          <p:nvPr/>
        </p:nvSpPr>
        <p:spPr>
          <a:xfrm>
            <a:off x="4991861" y="3045785"/>
            <a:ext cx="234844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Industry Awareness</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4" name="TextBox 11">
            <a:extLst>
              <a:ext uri="{FF2B5EF4-FFF2-40B4-BE49-F238E27FC236}">
                <a16:creationId xmlns:a16="http://schemas.microsoft.com/office/drawing/2014/main" id="{ABFC65FA-321B-0623-988A-6983EE883BA7}"/>
              </a:ext>
            </a:extLst>
          </p:cNvPr>
          <p:cNvSpPr txBox="1"/>
          <p:nvPr/>
        </p:nvSpPr>
        <p:spPr>
          <a:xfrm>
            <a:off x="685800" y="1192877"/>
            <a:ext cx="5477561" cy="415498"/>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Arial Bold"/>
                <a:cs typeface="Arial Bold"/>
                <a:sym typeface="Arial Bold"/>
              </a:rPr>
              <a:t>NNME: Areas of Focus</a:t>
            </a:r>
            <a:endParaRPr kumimoji="0" lang="en-US" sz="2600" b="0" i="0" u="none" strike="noStrike" kern="1200" cap="none" spc="0" normalizeH="0" baseline="0" noProof="0" dirty="0">
              <a:ln>
                <a:noFill/>
              </a:ln>
              <a:solidFill>
                <a:srgbClr val="000000"/>
              </a:solidFill>
              <a:effectLst/>
              <a:uLnTx/>
              <a:uFillTx/>
              <a:latin typeface="Arial"/>
              <a:ea typeface="Arial Bold"/>
              <a:cs typeface="Arial Bo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a:extLst>
            <a:ext uri="{FF2B5EF4-FFF2-40B4-BE49-F238E27FC236}">
              <a16:creationId xmlns:a16="http://schemas.microsoft.com/office/drawing/2014/main" id="{7ED085B8-B152-C0A3-80A4-8B908D215D4B}"/>
            </a:ext>
          </a:extLst>
        </p:cNvPr>
        <p:cNvGrpSpPr/>
        <p:nvPr/>
      </p:nvGrpSpPr>
      <p:grpSpPr>
        <a:xfrm>
          <a:off x="0" y="0"/>
          <a:ext cx="0" cy="0"/>
          <a:chOff x="0" y="0"/>
          <a:chExt cx="0" cy="0"/>
        </a:xfrm>
      </p:grpSpPr>
      <p:sp>
        <p:nvSpPr>
          <p:cNvPr id="5" name="TextBox 5">
            <a:extLst>
              <a:ext uri="{FF2B5EF4-FFF2-40B4-BE49-F238E27FC236}">
                <a16:creationId xmlns:a16="http://schemas.microsoft.com/office/drawing/2014/main" id="{1C72AECB-93AB-1C7E-6A33-B2B7A666278D}"/>
              </a:ext>
            </a:extLst>
          </p:cNvPr>
          <p:cNvSpPr txBox="1"/>
          <p:nvPr/>
        </p:nvSpPr>
        <p:spPr>
          <a:xfrm>
            <a:off x="-1071087" y="692634"/>
            <a:ext cx="7167087" cy="1193839"/>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6" name="Freeform 6">
            <a:extLst>
              <a:ext uri="{FF2B5EF4-FFF2-40B4-BE49-F238E27FC236}">
                <a16:creationId xmlns:a16="http://schemas.microsoft.com/office/drawing/2014/main" id="{A9166616-EBAD-ACA4-5E8F-11865CC96109}"/>
              </a:ext>
            </a:extLst>
          </p:cNvPr>
          <p:cNvSpPr/>
          <p:nvPr/>
        </p:nvSpPr>
        <p:spPr>
          <a:xfrm flipH="1">
            <a:off x="10480370" y="-511305"/>
            <a:ext cx="2560418" cy="3341492"/>
          </a:xfrm>
          <a:custGeom>
            <a:avLst/>
            <a:gdLst/>
            <a:ahLst/>
            <a:cxnLst/>
            <a:rect l="l" t="t" r="r" b="b"/>
            <a:pathLst>
              <a:path w="3840627" h="5012238">
                <a:moveTo>
                  <a:pt x="3840627" y="0"/>
                </a:moveTo>
                <a:lnTo>
                  <a:pt x="0" y="0"/>
                </a:lnTo>
                <a:lnTo>
                  <a:pt x="0" y="5012238"/>
                </a:lnTo>
                <a:lnTo>
                  <a:pt x="3840627" y="5012238"/>
                </a:lnTo>
                <a:lnTo>
                  <a:pt x="3840627"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7" name="Group 7">
            <a:extLst>
              <a:ext uri="{FF2B5EF4-FFF2-40B4-BE49-F238E27FC236}">
                <a16:creationId xmlns:a16="http://schemas.microsoft.com/office/drawing/2014/main" id="{A11D838C-FF53-AA80-6B4C-7852BA3B2254}"/>
              </a:ext>
            </a:extLst>
          </p:cNvPr>
          <p:cNvGrpSpPr/>
          <p:nvPr/>
        </p:nvGrpSpPr>
        <p:grpSpPr>
          <a:xfrm>
            <a:off x="-333069" y="6555699"/>
            <a:ext cx="12994208" cy="629923"/>
            <a:chOff x="0" y="0"/>
            <a:chExt cx="5133514" cy="248858"/>
          </a:xfrm>
        </p:grpSpPr>
        <p:sp>
          <p:nvSpPr>
            <p:cNvPr id="8" name="Freeform 8">
              <a:extLst>
                <a:ext uri="{FF2B5EF4-FFF2-40B4-BE49-F238E27FC236}">
                  <a16:creationId xmlns:a16="http://schemas.microsoft.com/office/drawing/2014/main" id="{68CBF559-9982-13BF-C9DE-73EDAE54C448}"/>
                </a:ext>
              </a:extLst>
            </p:cNvPr>
            <p:cNvSpPr/>
            <p:nvPr/>
          </p:nvSpPr>
          <p:spPr>
            <a:xfrm>
              <a:off x="0" y="0"/>
              <a:ext cx="5133514" cy="248858"/>
            </a:xfrm>
            <a:custGeom>
              <a:avLst/>
              <a:gdLst/>
              <a:ahLst/>
              <a:cxnLst/>
              <a:rect l="l" t="t" r="r" b="b"/>
              <a:pathLst>
                <a:path w="5133514" h="248858">
                  <a:moveTo>
                    <a:pt x="0" y="0"/>
                  </a:moveTo>
                  <a:lnTo>
                    <a:pt x="5133514" y="0"/>
                  </a:lnTo>
                  <a:lnTo>
                    <a:pt x="5133514" y="248858"/>
                  </a:lnTo>
                  <a:lnTo>
                    <a:pt x="0" y="248858"/>
                  </a:ln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9" name="TextBox 9">
              <a:extLst>
                <a:ext uri="{FF2B5EF4-FFF2-40B4-BE49-F238E27FC236}">
                  <a16:creationId xmlns:a16="http://schemas.microsoft.com/office/drawing/2014/main" id="{01FEF758-A0A6-C57F-69FB-301AB6B23874}"/>
                </a:ext>
              </a:extLst>
            </p:cNvPr>
            <p:cNvSpPr txBox="1"/>
            <p:nvPr/>
          </p:nvSpPr>
          <p:spPr>
            <a:xfrm>
              <a:off x="0" y="-76200"/>
              <a:ext cx="5133514" cy="32505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0" name="Freeform 10">
            <a:extLst>
              <a:ext uri="{FF2B5EF4-FFF2-40B4-BE49-F238E27FC236}">
                <a16:creationId xmlns:a16="http://schemas.microsoft.com/office/drawing/2014/main" id="{D16527B1-B1B1-F334-4BB1-BC77468BAF12}"/>
              </a:ext>
            </a:extLst>
          </p:cNvPr>
          <p:cNvSpPr/>
          <p:nvPr/>
        </p:nvSpPr>
        <p:spPr>
          <a:xfrm>
            <a:off x="8175567" y="134002"/>
            <a:ext cx="2235344" cy="440571"/>
          </a:xfrm>
          <a:custGeom>
            <a:avLst/>
            <a:gdLst/>
            <a:ahLst/>
            <a:cxnLst/>
            <a:rect l="l" t="t" r="r" b="b"/>
            <a:pathLst>
              <a:path w="3353016" h="660856">
                <a:moveTo>
                  <a:pt x="0" y="0"/>
                </a:moveTo>
                <a:lnTo>
                  <a:pt x="3353015" y="0"/>
                </a:lnTo>
                <a:lnTo>
                  <a:pt x="3353015" y="660856"/>
                </a:lnTo>
                <a:lnTo>
                  <a:pt x="0" y="660856"/>
                </a:lnTo>
                <a:lnTo>
                  <a:pt x="0" y="0"/>
                </a:lnTo>
                <a:close/>
              </a:path>
            </a:pathLst>
          </a:custGeom>
          <a:blipFill>
            <a:blip r:embed="rId7"/>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51" name="TextBox 15">
            <a:extLst>
              <a:ext uri="{FF2B5EF4-FFF2-40B4-BE49-F238E27FC236}">
                <a16:creationId xmlns:a16="http://schemas.microsoft.com/office/drawing/2014/main" id="{D3897151-1014-A275-286C-21489E480231}"/>
              </a:ext>
            </a:extLst>
          </p:cNvPr>
          <p:cNvSpPr txBox="1"/>
          <p:nvPr/>
        </p:nvSpPr>
        <p:spPr>
          <a:xfrm>
            <a:off x="9142262" y="2225436"/>
            <a:ext cx="2675923" cy="395258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pic>
        <p:nvPicPr>
          <p:cNvPr id="18" name="Picture 17" descr="A diagram of a company&#10;&#10;AI-generated content may be incorrect.">
            <a:extLst>
              <a:ext uri="{FF2B5EF4-FFF2-40B4-BE49-F238E27FC236}">
                <a16:creationId xmlns:a16="http://schemas.microsoft.com/office/drawing/2014/main" id="{748CD9F3-80C3-51A3-2C97-694F56A61C09}"/>
              </a:ext>
            </a:extLst>
          </p:cNvPr>
          <p:cNvPicPr>
            <a:picLocks noChangeAspect="1"/>
          </p:cNvPicPr>
          <p:nvPr/>
        </p:nvPicPr>
        <p:blipFill>
          <a:blip r:embed="rId8">
            <a:extLst>
              <a:ext uri="{28A0092B-C50C-407E-A947-70E740481C1C}">
                <a14:useLocalDpi xmlns:a14="http://schemas.microsoft.com/office/drawing/2010/main" val="0"/>
              </a:ext>
            </a:extLst>
          </a:blip>
          <a:srcRect t="14386" r="40"/>
          <a:stretch/>
        </p:blipFill>
        <p:spPr>
          <a:xfrm>
            <a:off x="685800" y="1804031"/>
            <a:ext cx="9030624" cy="4834110"/>
          </a:xfrm>
          <a:prstGeom prst="rect">
            <a:avLst/>
          </a:prstGeom>
        </p:spPr>
      </p:pic>
      <p:pic>
        <p:nvPicPr>
          <p:cNvPr id="20" name="Picture 19" descr="A green and white rectangle with text&#10;&#10;AI-generated content may be incorrect.">
            <a:extLst>
              <a:ext uri="{FF2B5EF4-FFF2-40B4-BE49-F238E27FC236}">
                <a16:creationId xmlns:a16="http://schemas.microsoft.com/office/drawing/2014/main" id="{1375FC31-FE44-F4D3-0F7D-ABA1633663DC}"/>
              </a:ext>
            </a:extLst>
          </p:cNvPr>
          <p:cNvPicPr>
            <a:picLocks noChangeAspect="1"/>
          </p:cNvPicPr>
          <p:nvPr/>
        </p:nvPicPr>
        <p:blipFill>
          <a:blip r:embed="rId9">
            <a:extLst>
              <a:ext uri="{28A0092B-C50C-407E-A947-70E740481C1C}">
                <a14:useLocalDpi xmlns:a14="http://schemas.microsoft.com/office/drawing/2010/main" val="0"/>
              </a:ext>
            </a:extLst>
          </a:blip>
          <a:srcRect l="68860" t="5921" b="58640"/>
          <a:stretch/>
        </p:blipFill>
        <p:spPr>
          <a:xfrm>
            <a:off x="8639979" y="2595624"/>
            <a:ext cx="4021518" cy="2873449"/>
          </a:xfrm>
          <a:prstGeom prst="rect">
            <a:avLst/>
          </a:prstGeom>
        </p:spPr>
      </p:pic>
      <p:grpSp>
        <p:nvGrpSpPr>
          <p:cNvPr id="15" name="Group 14">
            <a:extLst>
              <a:ext uri="{FF2B5EF4-FFF2-40B4-BE49-F238E27FC236}">
                <a16:creationId xmlns:a16="http://schemas.microsoft.com/office/drawing/2014/main" id="{208E62F6-B21C-8601-1B20-358FA0CD806F}"/>
              </a:ext>
            </a:extLst>
          </p:cNvPr>
          <p:cNvGrpSpPr/>
          <p:nvPr/>
        </p:nvGrpSpPr>
        <p:grpSpPr>
          <a:xfrm>
            <a:off x="-1071087" y="885515"/>
            <a:ext cx="7167087" cy="1000958"/>
            <a:chOff x="-1071087" y="885515"/>
            <a:chExt cx="7167087" cy="1000958"/>
          </a:xfrm>
        </p:grpSpPr>
        <p:grpSp>
          <p:nvGrpSpPr>
            <p:cNvPr id="16" name="Group 15">
              <a:extLst>
                <a:ext uri="{FF2B5EF4-FFF2-40B4-BE49-F238E27FC236}">
                  <a16:creationId xmlns:a16="http://schemas.microsoft.com/office/drawing/2014/main" id="{81166E3F-B006-74AE-B851-35C33FF86813}"/>
                </a:ext>
              </a:extLst>
            </p:cNvPr>
            <p:cNvGrpSpPr/>
            <p:nvPr/>
          </p:nvGrpSpPr>
          <p:grpSpPr>
            <a:xfrm>
              <a:off x="-1071087" y="885515"/>
              <a:ext cx="7167087" cy="1000958"/>
              <a:chOff x="0" y="0"/>
              <a:chExt cx="2831442" cy="395440"/>
            </a:xfrm>
          </p:grpSpPr>
          <p:sp>
            <p:nvSpPr>
              <p:cNvPr id="19" name="Freeform 4">
                <a:extLst>
                  <a:ext uri="{FF2B5EF4-FFF2-40B4-BE49-F238E27FC236}">
                    <a16:creationId xmlns:a16="http://schemas.microsoft.com/office/drawing/2014/main" id="{A15D0F62-42FE-4DDA-8CC4-B3EF02464CBC}"/>
                  </a:ext>
                </a:extLst>
              </p:cNvPr>
              <p:cNvSpPr/>
              <p:nvPr/>
            </p:nvSpPr>
            <p:spPr>
              <a:xfrm>
                <a:off x="0" y="0"/>
                <a:ext cx="2831442" cy="395440"/>
              </a:xfrm>
              <a:custGeom>
                <a:avLst/>
                <a:gdLst/>
                <a:ahLst/>
                <a:cxnLst/>
                <a:rect l="l" t="t" r="r" b="b"/>
                <a:pathLst>
                  <a:path w="2831442" h="395440">
                    <a:moveTo>
                      <a:pt x="65532" y="0"/>
                    </a:moveTo>
                    <a:lnTo>
                      <a:pt x="2765909" y="0"/>
                    </a:lnTo>
                    <a:cubicBezTo>
                      <a:pt x="2802102" y="0"/>
                      <a:pt x="2831442" y="29340"/>
                      <a:pt x="2831442" y="65532"/>
                    </a:cubicBezTo>
                    <a:lnTo>
                      <a:pt x="2831442" y="329908"/>
                    </a:lnTo>
                    <a:cubicBezTo>
                      <a:pt x="2831442" y="366100"/>
                      <a:pt x="2802102" y="395440"/>
                      <a:pt x="2765909" y="395440"/>
                    </a:cubicBezTo>
                    <a:lnTo>
                      <a:pt x="65532" y="395440"/>
                    </a:lnTo>
                    <a:cubicBezTo>
                      <a:pt x="48152" y="395440"/>
                      <a:pt x="31484" y="388536"/>
                      <a:pt x="19194" y="376246"/>
                    </a:cubicBezTo>
                    <a:cubicBezTo>
                      <a:pt x="6904" y="363956"/>
                      <a:pt x="0" y="347288"/>
                      <a:pt x="0" y="329908"/>
                    </a:cubicBezTo>
                    <a:lnTo>
                      <a:pt x="0" y="65532"/>
                    </a:lnTo>
                    <a:cubicBezTo>
                      <a:pt x="0" y="48152"/>
                      <a:pt x="6904" y="31484"/>
                      <a:pt x="19194" y="19194"/>
                    </a:cubicBezTo>
                    <a:cubicBezTo>
                      <a:pt x="31484" y="6904"/>
                      <a:pt x="48152" y="0"/>
                      <a:pt x="65532" y="0"/>
                    </a:cubicBez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21" name="TextBox 5">
                <a:extLst>
                  <a:ext uri="{FF2B5EF4-FFF2-40B4-BE49-F238E27FC236}">
                    <a16:creationId xmlns:a16="http://schemas.microsoft.com/office/drawing/2014/main" id="{9BD1F7EE-230A-7E62-87E1-66E64F6A9406}"/>
                  </a:ext>
                </a:extLst>
              </p:cNvPr>
              <p:cNvSpPr txBox="1"/>
              <p:nvPr/>
            </p:nvSpPr>
            <p:spPr>
              <a:xfrm>
                <a:off x="0" y="-76200"/>
                <a:ext cx="2831442" cy="47164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7" name="TextBox 11">
              <a:extLst>
                <a:ext uri="{FF2B5EF4-FFF2-40B4-BE49-F238E27FC236}">
                  <a16:creationId xmlns:a16="http://schemas.microsoft.com/office/drawing/2014/main" id="{D134A75A-A3F9-E340-2E7A-365E0D2C3C85}"/>
                </a:ext>
              </a:extLst>
            </p:cNvPr>
            <p:cNvSpPr txBox="1"/>
            <p:nvPr/>
          </p:nvSpPr>
          <p:spPr>
            <a:xfrm>
              <a:off x="685800" y="1194406"/>
              <a:ext cx="5228771" cy="40011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Arial Bold"/>
                  <a:cs typeface="Arial Bold"/>
                  <a:sym typeface="Arial Bold"/>
                </a:rPr>
                <a:t>NNME: Organizational Elements</a:t>
              </a:r>
            </a:p>
          </p:txBody>
        </p:sp>
      </p:grpSp>
    </p:spTree>
    <p:extLst>
      <p:ext uri="{BB962C8B-B14F-4D97-AF65-F5344CB8AC3E}">
        <p14:creationId xmlns:p14="http://schemas.microsoft.com/office/powerpoint/2010/main" val="419166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0"/>
                                  </p:stCondLst>
                                  <p:childTnLst>
                                    <p:animMotion origin="layout" path="M -1.47994E-17 -4.07407E-6 L -1.47994E-17 -0.06435 " pathEditMode="relative" rAng="0" ptsTypes="AA">
                                      <p:cBhvr>
                                        <p:cTn id="6" dur="2000" fill="hold"/>
                                        <p:tgtEl>
                                          <p:spTgt spid="15"/>
                                        </p:tgtEl>
                                        <p:attrNameLst>
                                          <p:attrName>ppt_x</p:attrName>
                                          <p:attrName>ppt_y</p:attrName>
                                        </p:attrNameLst>
                                      </p:cBhvr>
                                      <p:rCtr x="0" y="-321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a:blip r:embed="rId3">
            <a:alphaModFix amt="35000"/>
          </a:blip>
          <a:stretch>
            <a:fillRect t="-9259" b="-9259"/>
          </a:stretch>
        </a:blipFill>
        <a:effectLst/>
      </p:bgPr>
    </p:bg>
    <p:spTree>
      <p:nvGrpSpPr>
        <p:cNvPr id="1" name="">
          <a:extLst>
            <a:ext uri="{FF2B5EF4-FFF2-40B4-BE49-F238E27FC236}">
              <a16:creationId xmlns:a16="http://schemas.microsoft.com/office/drawing/2014/main" id="{90554949-E4B7-B5D4-E6B8-A0AEE1F858ED}"/>
            </a:ext>
          </a:extLst>
        </p:cNvPr>
        <p:cNvGrpSpPr/>
        <p:nvPr/>
      </p:nvGrpSpPr>
      <p:grpSpPr>
        <a:xfrm>
          <a:off x="0" y="0"/>
          <a:ext cx="0" cy="0"/>
          <a:chOff x="0" y="0"/>
          <a:chExt cx="0" cy="0"/>
        </a:xfrm>
      </p:grpSpPr>
      <p:grpSp>
        <p:nvGrpSpPr>
          <p:cNvPr id="3" name="Group 3">
            <a:extLst>
              <a:ext uri="{FF2B5EF4-FFF2-40B4-BE49-F238E27FC236}">
                <a16:creationId xmlns:a16="http://schemas.microsoft.com/office/drawing/2014/main" id="{D9AAD8E5-4F5E-1082-E404-06184B6B1404}"/>
              </a:ext>
            </a:extLst>
          </p:cNvPr>
          <p:cNvGrpSpPr/>
          <p:nvPr/>
        </p:nvGrpSpPr>
        <p:grpSpPr>
          <a:xfrm>
            <a:off x="-1071087" y="885515"/>
            <a:ext cx="7167087" cy="1000958"/>
            <a:chOff x="0" y="0"/>
            <a:chExt cx="2831442" cy="395440"/>
          </a:xfrm>
        </p:grpSpPr>
        <p:sp>
          <p:nvSpPr>
            <p:cNvPr id="4" name="Freeform 4">
              <a:extLst>
                <a:ext uri="{FF2B5EF4-FFF2-40B4-BE49-F238E27FC236}">
                  <a16:creationId xmlns:a16="http://schemas.microsoft.com/office/drawing/2014/main" id="{E3C4074A-AF85-FF10-7ABD-E2C7595FC824}"/>
                </a:ext>
              </a:extLst>
            </p:cNvPr>
            <p:cNvSpPr/>
            <p:nvPr/>
          </p:nvSpPr>
          <p:spPr>
            <a:xfrm>
              <a:off x="0" y="0"/>
              <a:ext cx="2831442" cy="395440"/>
            </a:xfrm>
            <a:custGeom>
              <a:avLst/>
              <a:gdLst/>
              <a:ahLst/>
              <a:cxnLst/>
              <a:rect l="l" t="t" r="r" b="b"/>
              <a:pathLst>
                <a:path w="2831442" h="395440">
                  <a:moveTo>
                    <a:pt x="65532" y="0"/>
                  </a:moveTo>
                  <a:lnTo>
                    <a:pt x="2765909" y="0"/>
                  </a:lnTo>
                  <a:cubicBezTo>
                    <a:pt x="2802102" y="0"/>
                    <a:pt x="2831442" y="29340"/>
                    <a:pt x="2831442" y="65532"/>
                  </a:cubicBezTo>
                  <a:lnTo>
                    <a:pt x="2831442" y="329908"/>
                  </a:lnTo>
                  <a:cubicBezTo>
                    <a:pt x="2831442" y="366100"/>
                    <a:pt x="2802102" y="395440"/>
                    <a:pt x="2765909" y="395440"/>
                  </a:cubicBezTo>
                  <a:lnTo>
                    <a:pt x="65532" y="395440"/>
                  </a:lnTo>
                  <a:cubicBezTo>
                    <a:pt x="48152" y="395440"/>
                    <a:pt x="31484" y="388536"/>
                    <a:pt x="19194" y="376246"/>
                  </a:cubicBezTo>
                  <a:cubicBezTo>
                    <a:pt x="6904" y="363956"/>
                    <a:pt x="0" y="347288"/>
                    <a:pt x="0" y="329908"/>
                  </a:cubicBezTo>
                  <a:lnTo>
                    <a:pt x="0" y="65532"/>
                  </a:lnTo>
                  <a:cubicBezTo>
                    <a:pt x="0" y="48152"/>
                    <a:pt x="6904" y="31484"/>
                    <a:pt x="19194" y="19194"/>
                  </a:cubicBezTo>
                  <a:cubicBezTo>
                    <a:pt x="31484" y="6904"/>
                    <a:pt x="48152" y="0"/>
                    <a:pt x="65532" y="0"/>
                  </a:cubicBez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5" name="TextBox 5">
              <a:extLst>
                <a:ext uri="{FF2B5EF4-FFF2-40B4-BE49-F238E27FC236}">
                  <a16:creationId xmlns:a16="http://schemas.microsoft.com/office/drawing/2014/main" id="{873110D5-C76C-E319-F128-448FD1917A24}"/>
                </a:ext>
              </a:extLst>
            </p:cNvPr>
            <p:cNvSpPr txBox="1"/>
            <p:nvPr/>
          </p:nvSpPr>
          <p:spPr>
            <a:xfrm>
              <a:off x="0" y="-76200"/>
              <a:ext cx="2831442" cy="47164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6" name="Freeform 6">
            <a:extLst>
              <a:ext uri="{FF2B5EF4-FFF2-40B4-BE49-F238E27FC236}">
                <a16:creationId xmlns:a16="http://schemas.microsoft.com/office/drawing/2014/main" id="{C1017FDD-48D5-14DC-4F75-261DE469DDB7}"/>
              </a:ext>
            </a:extLst>
          </p:cNvPr>
          <p:cNvSpPr/>
          <p:nvPr/>
        </p:nvSpPr>
        <p:spPr>
          <a:xfrm flipH="1">
            <a:off x="10480370" y="-511305"/>
            <a:ext cx="2560418" cy="3341492"/>
          </a:xfrm>
          <a:custGeom>
            <a:avLst/>
            <a:gdLst/>
            <a:ahLst/>
            <a:cxnLst/>
            <a:rect l="l" t="t" r="r" b="b"/>
            <a:pathLst>
              <a:path w="3840627" h="5012238">
                <a:moveTo>
                  <a:pt x="3840627" y="0"/>
                </a:moveTo>
                <a:lnTo>
                  <a:pt x="0" y="0"/>
                </a:lnTo>
                <a:lnTo>
                  <a:pt x="0" y="5012238"/>
                </a:lnTo>
                <a:lnTo>
                  <a:pt x="3840627" y="5012238"/>
                </a:lnTo>
                <a:lnTo>
                  <a:pt x="3840627"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7" name="Group 7">
            <a:extLst>
              <a:ext uri="{FF2B5EF4-FFF2-40B4-BE49-F238E27FC236}">
                <a16:creationId xmlns:a16="http://schemas.microsoft.com/office/drawing/2014/main" id="{593A3A69-9AAF-9426-B031-04331B0101E8}"/>
              </a:ext>
            </a:extLst>
          </p:cNvPr>
          <p:cNvGrpSpPr/>
          <p:nvPr/>
        </p:nvGrpSpPr>
        <p:grpSpPr>
          <a:xfrm>
            <a:off x="-333069" y="6555699"/>
            <a:ext cx="12994208" cy="629923"/>
            <a:chOff x="0" y="0"/>
            <a:chExt cx="5133514" cy="248858"/>
          </a:xfrm>
        </p:grpSpPr>
        <p:sp>
          <p:nvSpPr>
            <p:cNvPr id="8" name="Freeform 8">
              <a:extLst>
                <a:ext uri="{FF2B5EF4-FFF2-40B4-BE49-F238E27FC236}">
                  <a16:creationId xmlns:a16="http://schemas.microsoft.com/office/drawing/2014/main" id="{482170E9-DFA8-1104-8571-BB476181B49B}"/>
                </a:ext>
              </a:extLst>
            </p:cNvPr>
            <p:cNvSpPr/>
            <p:nvPr/>
          </p:nvSpPr>
          <p:spPr>
            <a:xfrm>
              <a:off x="0" y="0"/>
              <a:ext cx="5133514" cy="248858"/>
            </a:xfrm>
            <a:custGeom>
              <a:avLst/>
              <a:gdLst/>
              <a:ahLst/>
              <a:cxnLst/>
              <a:rect l="l" t="t" r="r" b="b"/>
              <a:pathLst>
                <a:path w="5133514" h="248858">
                  <a:moveTo>
                    <a:pt x="0" y="0"/>
                  </a:moveTo>
                  <a:lnTo>
                    <a:pt x="5133514" y="0"/>
                  </a:lnTo>
                  <a:lnTo>
                    <a:pt x="5133514" y="248858"/>
                  </a:lnTo>
                  <a:lnTo>
                    <a:pt x="0" y="248858"/>
                  </a:ln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9" name="TextBox 9">
              <a:extLst>
                <a:ext uri="{FF2B5EF4-FFF2-40B4-BE49-F238E27FC236}">
                  <a16:creationId xmlns:a16="http://schemas.microsoft.com/office/drawing/2014/main" id="{39A29A24-BDF8-B388-20BC-E83E0A37D749}"/>
                </a:ext>
              </a:extLst>
            </p:cNvPr>
            <p:cNvSpPr txBox="1"/>
            <p:nvPr/>
          </p:nvSpPr>
          <p:spPr>
            <a:xfrm>
              <a:off x="0" y="-76200"/>
              <a:ext cx="5133514" cy="32505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0" name="Freeform 10">
            <a:extLst>
              <a:ext uri="{FF2B5EF4-FFF2-40B4-BE49-F238E27FC236}">
                <a16:creationId xmlns:a16="http://schemas.microsoft.com/office/drawing/2014/main" id="{11F55038-ED05-D25F-5FCA-378CC5C85BC9}"/>
              </a:ext>
            </a:extLst>
          </p:cNvPr>
          <p:cNvSpPr/>
          <p:nvPr/>
        </p:nvSpPr>
        <p:spPr>
          <a:xfrm>
            <a:off x="8175567" y="134002"/>
            <a:ext cx="2235344" cy="440571"/>
          </a:xfrm>
          <a:custGeom>
            <a:avLst/>
            <a:gdLst/>
            <a:ahLst/>
            <a:cxnLst/>
            <a:rect l="l" t="t" r="r" b="b"/>
            <a:pathLst>
              <a:path w="3353016" h="660856">
                <a:moveTo>
                  <a:pt x="0" y="0"/>
                </a:moveTo>
                <a:lnTo>
                  <a:pt x="3353015" y="0"/>
                </a:lnTo>
                <a:lnTo>
                  <a:pt x="3353015" y="660856"/>
                </a:lnTo>
                <a:lnTo>
                  <a:pt x="0" y="660856"/>
                </a:lnTo>
                <a:lnTo>
                  <a:pt x="0" y="0"/>
                </a:lnTo>
                <a:close/>
              </a:path>
            </a:pathLst>
          </a:custGeom>
          <a:blipFill>
            <a:blip r:embed="rId6"/>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45" name="TextBox 15">
            <a:extLst>
              <a:ext uri="{FF2B5EF4-FFF2-40B4-BE49-F238E27FC236}">
                <a16:creationId xmlns:a16="http://schemas.microsoft.com/office/drawing/2014/main" id="{DF248078-533D-3758-4F79-99E2CFFC0C64}"/>
              </a:ext>
            </a:extLst>
          </p:cNvPr>
          <p:cNvSpPr txBox="1"/>
          <p:nvPr/>
        </p:nvSpPr>
        <p:spPr>
          <a:xfrm>
            <a:off x="3295907" y="2206552"/>
            <a:ext cx="2675923" cy="395258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51" name="TextBox 15">
            <a:extLst>
              <a:ext uri="{FF2B5EF4-FFF2-40B4-BE49-F238E27FC236}">
                <a16:creationId xmlns:a16="http://schemas.microsoft.com/office/drawing/2014/main" id="{0A72A96C-E2D8-0E3C-BCEC-889FBEE2628C}"/>
              </a:ext>
            </a:extLst>
          </p:cNvPr>
          <p:cNvSpPr txBox="1"/>
          <p:nvPr/>
        </p:nvSpPr>
        <p:spPr>
          <a:xfrm>
            <a:off x="9142262" y="2225436"/>
            <a:ext cx="2675923" cy="395258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17" name="Group 16">
            <a:extLst>
              <a:ext uri="{FF2B5EF4-FFF2-40B4-BE49-F238E27FC236}">
                <a16:creationId xmlns:a16="http://schemas.microsoft.com/office/drawing/2014/main" id="{391CAEA6-6CE2-3FA2-70B8-9D6BFE67DA12}"/>
              </a:ext>
            </a:extLst>
          </p:cNvPr>
          <p:cNvGrpSpPr/>
          <p:nvPr/>
        </p:nvGrpSpPr>
        <p:grpSpPr>
          <a:xfrm>
            <a:off x="544736" y="1888615"/>
            <a:ext cx="10667310" cy="3185699"/>
            <a:chOff x="2867699" y="3027823"/>
            <a:chExt cx="16000961" cy="4778547"/>
          </a:xfrm>
        </p:grpSpPr>
        <p:grpSp>
          <p:nvGrpSpPr>
            <p:cNvPr id="23" name="Group 23">
              <a:extLst>
                <a:ext uri="{FF2B5EF4-FFF2-40B4-BE49-F238E27FC236}">
                  <a16:creationId xmlns:a16="http://schemas.microsoft.com/office/drawing/2014/main" id="{6477E79A-158F-E54B-76D0-F698D6E8AB89}"/>
                </a:ext>
              </a:extLst>
            </p:cNvPr>
            <p:cNvGrpSpPr/>
            <p:nvPr/>
          </p:nvGrpSpPr>
          <p:grpSpPr>
            <a:xfrm>
              <a:off x="2867699" y="3027823"/>
              <a:ext cx="967450" cy="1171674"/>
              <a:chOff x="148838" y="-87323"/>
              <a:chExt cx="1289933" cy="1562231"/>
            </a:xfrm>
          </p:grpSpPr>
          <p:sp>
            <p:nvSpPr>
              <p:cNvPr id="26" name="TextBox 26">
                <a:extLst>
                  <a:ext uri="{FF2B5EF4-FFF2-40B4-BE49-F238E27FC236}">
                    <a16:creationId xmlns:a16="http://schemas.microsoft.com/office/drawing/2014/main" id="{1A71CE73-460A-E7E2-5629-56A67C313FDF}"/>
                  </a:ext>
                </a:extLst>
              </p:cNvPr>
              <p:cNvSpPr txBox="1"/>
              <p:nvPr/>
            </p:nvSpPr>
            <p:spPr>
              <a:xfrm>
                <a:off x="148838" y="37211"/>
                <a:ext cx="1289933" cy="140156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27" name="TextBox 27">
                <a:extLst>
                  <a:ext uri="{FF2B5EF4-FFF2-40B4-BE49-F238E27FC236}">
                    <a16:creationId xmlns:a16="http://schemas.microsoft.com/office/drawing/2014/main" id="{CD7B7465-D014-A2C4-F924-9D0F456E2592}"/>
                  </a:ext>
                </a:extLst>
              </p:cNvPr>
              <p:cNvSpPr txBox="1"/>
              <p:nvPr/>
            </p:nvSpPr>
            <p:spPr>
              <a:xfrm>
                <a:off x="351128" y="-87323"/>
                <a:ext cx="885354" cy="1562231"/>
              </a:xfrm>
              <a:prstGeom prst="rect">
                <a:avLst/>
              </a:prstGeom>
            </p:spPr>
            <p:txBody>
              <a:bodyPr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6278"/>
                  </a:lnSpc>
                  <a:spcBef>
                    <a:spcPct val="0"/>
                  </a:spcBef>
                  <a:spcAft>
                    <a:spcPts val="0"/>
                  </a:spcAft>
                  <a:buClrTx/>
                  <a:buSzTx/>
                  <a:buFontTx/>
                  <a:buNone/>
                  <a:tabLst/>
                  <a:defRPr/>
                </a:pPr>
                <a:endParaRPr kumimoji="0" lang="en-US" sz="4450" b="1" i="0" u="none" strike="noStrike" kern="1200" cap="none" spc="0" normalizeH="0" baseline="0" noProof="0">
                  <a:ln>
                    <a:noFill/>
                  </a:ln>
                  <a:solidFill>
                    <a:srgbClr val="FFFFFF"/>
                  </a:solidFill>
                  <a:effectLst/>
                  <a:uLnTx/>
                  <a:uFillTx/>
                  <a:latin typeface="Poppins Bold"/>
                  <a:ea typeface="Poppins Bold"/>
                  <a:cs typeface="Poppins Bold"/>
                </a:endParaRPr>
              </a:p>
            </p:txBody>
          </p:sp>
        </p:grpSp>
        <p:grpSp>
          <p:nvGrpSpPr>
            <p:cNvPr id="16" name="Group 15">
              <a:extLst>
                <a:ext uri="{FF2B5EF4-FFF2-40B4-BE49-F238E27FC236}">
                  <a16:creationId xmlns:a16="http://schemas.microsoft.com/office/drawing/2014/main" id="{CC2A2831-0831-FC65-B4FF-9BA23109B353}"/>
                </a:ext>
              </a:extLst>
            </p:cNvPr>
            <p:cNvGrpSpPr/>
            <p:nvPr/>
          </p:nvGrpSpPr>
          <p:grpSpPr>
            <a:xfrm>
              <a:off x="14450245" y="3027823"/>
              <a:ext cx="4418415" cy="4778547"/>
              <a:chOff x="14536378" y="3006262"/>
              <a:chExt cx="4418415" cy="4778547"/>
            </a:xfrm>
          </p:grpSpPr>
          <p:grpSp>
            <p:nvGrpSpPr>
              <p:cNvPr id="33" name="Group 33">
                <a:extLst>
                  <a:ext uri="{FF2B5EF4-FFF2-40B4-BE49-F238E27FC236}">
                    <a16:creationId xmlns:a16="http://schemas.microsoft.com/office/drawing/2014/main" id="{348FA701-27DD-ED96-0962-43D629299ACD}"/>
                  </a:ext>
                </a:extLst>
              </p:cNvPr>
              <p:cNvGrpSpPr/>
              <p:nvPr/>
            </p:nvGrpSpPr>
            <p:grpSpPr>
              <a:xfrm>
                <a:off x="14536378" y="3006262"/>
                <a:ext cx="967450" cy="1171674"/>
                <a:chOff x="148838" y="-87323"/>
                <a:chExt cx="1289933" cy="1562231"/>
              </a:xfrm>
            </p:grpSpPr>
            <p:sp>
              <p:nvSpPr>
                <p:cNvPr id="36" name="TextBox 36">
                  <a:extLst>
                    <a:ext uri="{FF2B5EF4-FFF2-40B4-BE49-F238E27FC236}">
                      <a16:creationId xmlns:a16="http://schemas.microsoft.com/office/drawing/2014/main" id="{16A727C5-6998-E70E-7B67-55EE81143080}"/>
                    </a:ext>
                  </a:extLst>
                </p:cNvPr>
                <p:cNvSpPr txBox="1"/>
                <p:nvPr/>
              </p:nvSpPr>
              <p:spPr>
                <a:xfrm>
                  <a:off x="148838" y="37211"/>
                  <a:ext cx="1289933" cy="140156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37" name="TextBox 37">
                  <a:extLst>
                    <a:ext uri="{FF2B5EF4-FFF2-40B4-BE49-F238E27FC236}">
                      <a16:creationId xmlns:a16="http://schemas.microsoft.com/office/drawing/2014/main" id="{EDACFBE8-8FD4-CD19-99E8-B5801B5E9DA4}"/>
                    </a:ext>
                  </a:extLst>
                </p:cNvPr>
                <p:cNvSpPr txBox="1"/>
                <p:nvPr/>
              </p:nvSpPr>
              <p:spPr>
                <a:xfrm>
                  <a:off x="351128" y="-87323"/>
                  <a:ext cx="885354" cy="1562231"/>
                </a:xfrm>
                <a:prstGeom prst="rect">
                  <a:avLst/>
                </a:prstGeom>
              </p:spPr>
              <p:txBody>
                <a:bodyPr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6278"/>
                    </a:lnSpc>
                    <a:spcBef>
                      <a:spcPct val="0"/>
                    </a:spcBef>
                    <a:spcAft>
                      <a:spcPts val="0"/>
                    </a:spcAft>
                    <a:buClrTx/>
                    <a:buSzTx/>
                    <a:buFontTx/>
                    <a:buNone/>
                    <a:tabLst/>
                    <a:defRPr/>
                  </a:pPr>
                  <a:endParaRPr kumimoji="0" lang="en-US" sz="4450" b="1" i="0" u="none" strike="noStrike" kern="1200" cap="none" spc="0" normalizeH="0" baseline="0" noProof="0">
                    <a:ln>
                      <a:noFill/>
                    </a:ln>
                    <a:solidFill>
                      <a:srgbClr val="FFFFFF"/>
                    </a:solidFill>
                    <a:effectLst/>
                    <a:uLnTx/>
                    <a:uFillTx/>
                    <a:latin typeface="Poppins Bold"/>
                    <a:ea typeface="Poppins Bold"/>
                    <a:cs typeface="Poppins Bold"/>
                  </a:endParaRPr>
                </a:p>
              </p:txBody>
            </p:sp>
          </p:grpSp>
          <p:sp>
            <p:nvSpPr>
              <p:cNvPr id="39" name="TextBox 39">
                <a:extLst>
                  <a:ext uri="{FF2B5EF4-FFF2-40B4-BE49-F238E27FC236}">
                    <a16:creationId xmlns:a16="http://schemas.microsoft.com/office/drawing/2014/main" id="{CA3C86C0-254E-2077-CEC8-0A0D9FD4009A}"/>
                  </a:ext>
                </a:extLst>
              </p:cNvPr>
              <p:cNvSpPr txBox="1"/>
              <p:nvPr/>
            </p:nvSpPr>
            <p:spPr>
              <a:xfrm>
                <a:off x="15437603" y="7461643"/>
                <a:ext cx="3517190" cy="32316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ct val="0"/>
                  </a:spcBef>
                  <a:spcAft>
                    <a:spcPts val="40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Arial"/>
                  <a:ea typeface="+mn-ea"/>
                  <a:cs typeface="Arial"/>
                </a:endParaRPr>
              </a:p>
            </p:txBody>
          </p:sp>
        </p:grpSp>
        <p:grpSp>
          <p:nvGrpSpPr>
            <p:cNvPr id="15" name="Group 14">
              <a:extLst>
                <a:ext uri="{FF2B5EF4-FFF2-40B4-BE49-F238E27FC236}">
                  <a16:creationId xmlns:a16="http://schemas.microsoft.com/office/drawing/2014/main" id="{C61E9123-CA05-EE59-623C-0129F982F565}"/>
                </a:ext>
              </a:extLst>
            </p:cNvPr>
            <p:cNvGrpSpPr/>
            <p:nvPr/>
          </p:nvGrpSpPr>
          <p:grpSpPr>
            <a:xfrm>
              <a:off x="7379618" y="3134754"/>
              <a:ext cx="3522675" cy="1814410"/>
              <a:chOff x="8136068" y="3068099"/>
              <a:chExt cx="3522675" cy="1814410"/>
            </a:xfrm>
          </p:grpSpPr>
          <p:sp>
            <p:nvSpPr>
              <p:cNvPr id="38" name="TextBox 38">
                <a:extLst>
                  <a:ext uri="{FF2B5EF4-FFF2-40B4-BE49-F238E27FC236}">
                    <a16:creationId xmlns:a16="http://schemas.microsoft.com/office/drawing/2014/main" id="{ACCFAAED-8341-7BAB-6BB2-3155A9792542}"/>
                  </a:ext>
                </a:extLst>
              </p:cNvPr>
              <p:cNvSpPr txBox="1"/>
              <p:nvPr/>
            </p:nvSpPr>
            <p:spPr>
              <a:xfrm>
                <a:off x="8136068" y="4559343"/>
                <a:ext cx="3522675" cy="32316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ct val="0"/>
                  </a:spcBef>
                  <a:spcAft>
                    <a:spcPts val="40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panose="020B0604020202020204" pitchFamily="34" charset="0"/>
                  <a:ea typeface="Arial Bold"/>
                  <a:cs typeface="Arial" panose="020B0604020202020204" pitchFamily="34" charset="0"/>
                </a:endParaRPr>
              </a:p>
            </p:txBody>
          </p:sp>
          <p:sp>
            <p:nvSpPr>
              <p:cNvPr id="31" name="TextBox 31">
                <a:extLst>
                  <a:ext uri="{FF2B5EF4-FFF2-40B4-BE49-F238E27FC236}">
                    <a16:creationId xmlns:a16="http://schemas.microsoft.com/office/drawing/2014/main" id="{3D9EEE69-FF30-B18D-7DC8-5D72911F3B99}"/>
                  </a:ext>
                </a:extLst>
              </p:cNvPr>
              <p:cNvSpPr txBox="1"/>
              <p:nvPr/>
            </p:nvSpPr>
            <p:spPr>
              <a:xfrm>
                <a:off x="9416725" y="3068099"/>
                <a:ext cx="967450" cy="1051172"/>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grpSp>
      <p:sp>
        <p:nvSpPr>
          <p:cNvPr id="12" name="TextBox 11">
            <a:extLst>
              <a:ext uri="{FF2B5EF4-FFF2-40B4-BE49-F238E27FC236}">
                <a16:creationId xmlns:a16="http://schemas.microsoft.com/office/drawing/2014/main" id="{9A454AE1-0359-35BD-A51D-DE80FA821161}"/>
              </a:ext>
            </a:extLst>
          </p:cNvPr>
          <p:cNvSpPr txBox="1"/>
          <p:nvPr/>
        </p:nvSpPr>
        <p:spPr>
          <a:xfrm>
            <a:off x="7813221" y="2203416"/>
            <a:ext cx="266208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llaborations</a:t>
            </a:r>
          </a:p>
        </p:txBody>
      </p:sp>
      <p:pic>
        <p:nvPicPr>
          <p:cNvPr id="13" name="Picture 12">
            <a:extLst>
              <a:ext uri="{FF2B5EF4-FFF2-40B4-BE49-F238E27FC236}">
                <a16:creationId xmlns:a16="http://schemas.microsoft.com/office/drawing/2014/main" id="{F0912A5B-A70A-1C97-0119-578A903BFBBE}"/>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828700" y="3105856"/>
            <a:ext cx="1630975" cy="703388"/>
          </a:xfrm>
          <a:prstGeom prst="rect">
            <a:avLst/>
          </a:prstGeom>
        </p:spPr>
      </p:pic>
      <p:pic>
        <p:nvPicPr>
          <p:cNvPr id="18" name="Graphic 17">
            <a:extLst>
              <a:ext uri="{FF2B5EF4-FFF2-40B4-BE49-F238E27FC236}">
                <a16:creationId xmlns:a16="http://schemas.microsoft.com/office/drawing/2014/main" id="{89906CD4-E808-1E66-E279-71EDD618C0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18656" y="3168162"/>
            <a:ext cx="1779710" cy="631582"/>
          </a:xfrm>
          <a:prstGeom prst="rect">
            <a:avLst/>
          </a:prstGeom>
        </p:spPr>
      </p:pic>
      <p:pic>
        <p:nvPicPr>
          <p:cNvPr id="20" name="Picture 19" descr="Blue text on a white background&#10;&#10;AI-generated content may be incorrect.">
            <a:extLst>
              <a:ext uri="{FF2B5EF4-FFF2-40B4-BE49-F238E27FC236}">
                <a16:creationId xmlns:a16="http://schemas.microsoft.com/office/drawing/2014/main" id="{33865960-E38E-CAD3-D51B-A86AFAFE1F7A}"/>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1416293" y="4262071"/>
            <a:ext cx="2186357" cy="641840"/>
          </a:xfrm>
          <a:prstGeom prst="rect">
            <a:avLst/>
          </a:prstGeom>
        </p:spPr>
      </p:pic>
      <p:pic>
        <p:nvPicPr>
          <p:cNvPr id="24" name="Picture 23" descr="A blue and white logo&#10;&#10;AI-generated content may be incorrect.">
            <a:extLst>
              <a:ext uri="{FF2B5EF4-FFF2-40B4-BE49-F238E27FC236}">
                <a16:creationId xmlns:a16="http://schemas.microsoft.com/office/drawing/2014/main" id="{A8ECF209-BA48-89E6-C697-C3ADC721C630}"/>
              </a:ext>
            </a:extLst>
          </p:cNvPr>
          <p:cNvPicPr>
            <a:picLocks noChangeAspect="1"/>
          </p:cNvPicPr>
          <p:nvPr/>
        </p:nvPicPr>
        <p:blipFill>
          <a:blip r:embed="rId13"/>
          <a:stretch>
            <a:fillRect/>
          </a:stretch>
        </p:blipFill>
        <p:spPr>
          <a:xfrm>
            <a:off x="892599" y="5144622"/>
            <a:ext cx="3662177" cy="1010304"/>
          </a:xfrm>
          <a:prstGeom prst="rect">
            <a:avLst/>
          </a:prstGeom>
        </p:spPr>
      </p:pic>
      <p:pic>
        <p:nvPicPr>
          <p:cNvPr id="25" name="Picture 24" descr="A close up of a sign&#10;&#10;AI-generated content may be incorrect.">
            <a:extLst>
              <a:ext uri="{FF2B5EF4-FFF2-40B4-BE49-F238E27FC236}">
                <a16:creationId xmlns:a16="http://schemas.microsoft.com/office/drawing/2014/main" id="{7557D4F7-8D26-4E09-F4F1-DA6A38F118F2}"/>
              </a:ext>
            </a:extLst>
          </p:cNvPr>
          <p:cNvPicPr>
            <a:picLocks noChangeAspect="1"/>
          </p:cNvPicPr>
          <p:nvPr/>
        </p:nvPicPr>
        <p:blipFill>
          <a:blip r:embed="rId14"/>
          <a:stretch>
            <a:fillRect/>
          </a:stretch>
        </p:blipFill>
        <p:spPr>
          <a:xfrm>
            <a:off x="6762750" y="3101185"/>
            <a:ext cx="4762501" cy="765535"/>
          </a:xfrm>
          <a:prstGeom prst="rect">
            <a:avLst/>
          </a:prstGeom>
        </p:spPr>
      </p:pic>
      <p:pic>
        <p:nvPicPr>
          <p:cNvPr id="42" name="Picture 41" descr="A close up of a logo&#10;&#10;AI-generated content may be incorrect.">
            <a:extLst>
              <a:ext uri="{FF2B5EF4-FFF2-40B4-BE49-F238E27FC236}">
                <a16:creationId xmlns:a16="http://schemas.microsoft.com/office/drawing/2014/main" id="{B22C537B-391E-9075-8D92-2D6A64F7D843}"/>
              </a:ext>
            </a:extLst>
          </p:cNvPr>
          <p:cNvPicPr>
            <a:picLocks noChangeAspect="1"/>
          </p:cNvPicPr>
          <p:nvPr/>
        </p:nvPicPr>
        <p:blipFill>
          <a:blip r:embed="rId15"/>
          <a:stretch>
            <a:fillRect/>
          </a:stretch>
        </p:blipFill>
        <p:spPr>
          <a:xfrm>
            <a:off x="7475387" y="4222000"/>
            <a:ext cx="3333750" cy="714375"/>
          </a:xfrm>
          <a:prstGeom prst="rect">
            <a:avLst/>
          </a:prstGeom>
        </p:spPr>
      </p:pic>
      <p:pic>
        <p:nvPicPr>
          <p:cNvPr id="43" name="Picture 42" descr="A logo of a company&#10;&#10;AI-generated content may be incorrect.">
            <a:extLst>
              <a:ext uri="{FF2B5EF4-FFF2-40B4-BE49-F238E27FC236}">
                <a16:creationId xmlns:a16="http://schemas.microsoft.com/office/drawing/2014/main" id="{C4F8E186-25C2-D39A-549D-09D3E20A8301}"/>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10000" b="90000" l="10000" r="90000"/>
                    </a14:imgEffect>
                  </a14:imgLayer>
                </a14:imgProps>
              </a:ext>
            </a:extLst>
          </a:blip>
          <a:stretch>
            <a:fillRect/>
          </a:stretch>
        </p:blipFill>
        <p:spPr>
          <a:xfrm>
            <a:off x="8479218" y="5013880"/>
            <a:ext cx="1628042" cy="1166447"/>
          </a:xfrm>
          <a:prstGeom prst="rect">
            <a:avLst/>
          </a:prstGeom>
        </p:spPr>
      </p:pic>
      <p:sp>
        <p:nvSpPr>
          <p:cNvPr id="19" name="TextBox 11">
            <a:extLst>
              <a:ext uri="{FF2B5EF4-FFF2-40B4-BE49-F238E27FC236}">
                <a16:creationId xmlns:a16="http://schemas.microsoft.com/office/drawing/2014/main" id="{C07A7770-C312-01B6-79B6-3090AA0B62D7}"/>
              </a:ext>
            </a:extLst>
          </p:cNvPr>
          <p:cNvSpPr txBox="1"/>
          <p:nvPr/>
        </p:nvSpPr>
        <p:spPr>
          <a:xfrm>
            <a:off x="685800" y="984406"/>
            <a:ext cx="5481155" cy="80021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mn-ea"/>
                <a:cs typeface="Arial"/>
                <a:sym typeface="Arial Bold"/>
              </a:rPr>
              <a:t>NNME: </a:t>
            </a:r>
            <a:r>
              <a:rPr kumimoji="0" lang="en-US" sz="2600" b="1" i="0" u="none" strike="noStrike" kern="1200" cap="none" spc="0" normalizeH="0" baseline="0" noProof="0" dirty="0" err="1">
                <a:ln>
                  <a:noFill/>
                </a:ln>
                <a:solidFill>
                  <a:srgbClr val="FFFFFF"/>
                </a:solidFill>
                <a:effectLst/>
                <a:uLnTx/>
                <a:uFillTx/>
                <a:latin typeface="Arial"/>
                <a:ea typeface="+mn-ea"/>
                <a:cs typeface="Arial"/>
                <a:sym typeface="Arial Bold"/>
              </a:rPr>
              <a:t>Subawardees</a:t>
            </a:r>
            <a:r>
              <a:rPr kumimoji="0" lang="en-US" sz="2600" b="1" i="0" u="none" strike="noStrike" kern="1200" cap="none" spc="0" normalizeH="0" baseline="0" noProof="0" dirty="0">
                <a:ln>
                  <a:noFill/>
                </a:ln>
                <a:solidFill>
                  <a:srgbClr val="FFFFFF"/>
                </a:solidFill>
                <a:effectLst/>
                <a:uLnTx/>
                <a:uFillTx/>
                <a:latin typeface="Arial"/>
                <a:ea typeface="+mn-ea"/>
                <a:cs typeface="Arial"/>
                <a:sym typeface="Arial Bold"/>
              </a:rPr>
              <a:t> &amp; Collaborations</a:t>
            </a:r>
          </a:p>
        </p:txBody>
      </p:sp>
      <p:sp>
        <p:nvSpPr>
          <p:cNvPr id="21" name="TextBox 22">
            <a:extLst>
              <a:ext uri="{FF2B5EF4-FFF2-40B4-BE49-F238E27FC236}">
                <a16:creationId xmlns:a16="http://schemas.microsoft.com/office/drawing/2014/main" id="{5F62D077-DD19-C779-D136-51051EB8090F}"/>
              </a:ext>
            </a:extLst>
          </p:cNvPr>
          <p:cNvSpPr txBox="1"/>
          <p:nvPr/>
        </p:nvSpPr>
        <p:spPr>
          <a:xfrm>
            <a:off x="1244221" y="2219814"/>
            <a:ext cx="2584096" cy="36933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ct val="0"/>
              </a:spcBef>
              <a:spcAft>
                <a:spcPts val="400"/>
              </a:spcAft>
              <a:buClrTx/>
              <a:buSzTx/>
              <a:buFontTx/>
              <a:buNone/>
              <a:tabLst/>
              <a:defRPr/>
            </a:pPr>
            <a:r>
              <a:rPr kumimoji="0" lang="en-US" sz="24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sym typeface="Arial Bold"/>
              </a:rPr>
              <a:t>Subawardees</a:t>
            </a:r>
            <a:endPar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0755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E0ADC2-CCD6-34CF-05FF-C2F6BA83E0BC}"/>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A849CBDB-CECB-EA51-ACC4-46F0766B293D}"/>
              </a:ext>
            </a:extLst>
          </p:cNvPr>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alphaModFix amt="35000"/>
            </a:blip>
            <a:stretch>
              <a:fillRect t="-9259" b="-9259"/>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3" name="Group 3">
            <a:extLst>
              <a:ext uri="{FF2B5EF4-FFF2-40B4-BE49-F238E27FC236}">
                <a16:creationId xmlns:a16="http://schemas.microsoft.com/office/drawing/2014/main" id="{35FFF676-3EE8-CC8A-F701-B85267306FEB}"/>
              </a:ext>
            </a:extLst>
          </p:cNvPr>
          <p:cNvGrpSpPr/>
          <p:nvPr/>
        </p:nvGrpSpPr>
        <p:grpSpPr>
          <a:xfrm>
            <a:off x="-1071087" y="885515"/>
            <a:ext cx="7167087" cy="1000958"/>
            <a:chOff x="0" y="0"/>
            <a:chExt cx="2831442" cy="395440"/>
          </a:xfrm>
        </p:grpSpPr>
        <p:sp>
          <p:nvSpPr>
            <p:cNvPr id="4" name="Freeform 4">
              <a:extLst>
                <a:ext uri="{FF2B5EF4-FFF2-40B4-BE49-F238E27FC236}">
                  <a16:creationId xmlns:a16="http://schemas.microsoft.com/office/drawing/2014/main" id="{DEC97F78-A274-E03C-4153-C5697E150F4E}"/>
                </a:ext>
              </a:extLst>
            </p:cNvPr>
            <p:cNvSpPr/>
            <p:nvPr/>
          </p:nvSpPr>
          <p:spPr>
            <a:xfrm>
              <a:off x="0" y="0"/>
              <a:ext cx="2831442" cy="395440"/>
            </a:xfrm>
            <a:custGeom>
              <a:avLst/>
              <a:gdLst/>
              <a:ahLst/>
              <a:cxnLst/>
              <a:rect l="l" t="t" r="r" b="b"/>
              <a:pathLst>
                <a:path w="2831442" h="395440">
                  <a:moveTo>
                    <a:pt x="65532" y="0"/>
                  </a:moveTo>
                  <a:lnTo>
                    <a:pt x="2765909" y="0"/>
                  </a:lnTo>
                  <a:cubicBezTo>
                    <a:pt x="2802102" y="0"/>
                    <a:pt x="2831442" y="29340"/>
                    <a:pt x="2831442" y="65532"/>
                  </a:cubicBezTo>
                  <a:lnTo>
                    <a:pt x="2831442" y="329908"/>
                  </a:lnTo>
                  <a:cubicBezTo>
                    <a:pt x="2831442" y="366100"/>
                    <a:pt x="2802102" y="395440"/>
                    <a:pt x="2765909" y="395440"/>
                  </a:cubicBezTo>
                  <a:lnTo>
                    <a:pt x="65532" y="395440"/>
                  </a:lnTo>
                  <a:cubicBezTo>
                    <a:pt x="48152" y="395440"/>
                    <a:pt x="31484" y="388536"/>
                    <a:pt x="19194" y="376246"/>
                  </a:cubicBezTo>
                  <a:cubicBezTo>
                    <a:pt x="6904" y="363956"/>
                    <a:pt x="0" y="347288"/>
                    <a:pt x="0" y="329908"/>
                  </a:cubicBezTo>
                  <a:lnTo>
                    <a:pt x="0" y="65532"/>
                  </a:lnTo>
                  <a:cubicBezTo>
                    <a:pt x="0" y="48152"/>
                    <a:pt x="6904" y="31484"/>
                    <a:pt x="19194" y="19194"/>
                  </a:cubicBezTo>
                  <a:cubicBezTo>
                    <a:pt x="31484" y="6904"/>
                    <a:pt x="48152" y="0"/>
                    <a:pt x="65532" y="0"/>
                  </a:cubicBez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5" name="TextBox 5">
              <a:extLst>
                <a:ext uri="{FF2B5EF4-FFF2-40B4-BE49-F238E27FC236}">
                  <a16:creationId xmlns:a16="http://schemas.microsoft.com/office/drawing/2014/main" id="{A0016C82-FE99-50F0-09DF-9A6B97AA4178}"/>
                </a:ext>
              </a:extLst>
            </p:cNvPr>
            <p:cNvSpPr txBox="1"/>
            <p:nvPr/>
          </p:nvSpPr>
          <p:spPr>
            <a:xfrm>
              <a:off x="0" y="-76200"/>
              <a:ext cx="2831442" cy="47164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6" name="Freeform 6">
            <a:extLst>
              <a:ext uri="{FF2B5EF4-FFF2-40B4-BE49-F238E27FC236}">
                <a16:creationId xmlns:a16="http://schemas.microsoft.com/office/drawing/2014/main" id="{FE69D5D8-83F3-6110-C53A-FC151FF4E94D}"/>
              </a:ext>
            </a:extLst>
          </p:cNvPr>
          <p:cNvSpPr/>
          <p:nvPr/>
        </p:nvSpPr>
        <p:spPr>
          <a:xfrm flipH="1">
            <a:off x="10480370" y="-511305"/>
            <a:ext cx="2560418" cy="3341492"/>
          </a:xfrm>
          <a:custGeom>
            <a:avLst/>
            <a:gdLst/>
            <a:ahLst/>
            <a:cxnLst/>
            <a:rect l="l" t="t" r="r" b="b"/>
            <a:pathLst>
              <a:path w="3840627" h="5012238">
                <a:moveTo>
                  <a:pt x="3840627" y="0"/>
                </a:moveTo>
                <a:lnTo>
                  <a:pt x="0" y="0"/>
                </a:lnTo>
                <a:lnTo>
                  <a:pt x="0" y="5012238"/>
                </a:lnTo>
                <a:lnTo>
                  <a:pt x="3840627" y="5012238"/>
                </a:lnTo>
                <a:lnTo>
                  <a:pt x="3840627"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7" name="Group 7">
            <a:extLst>
              <a:ext uri="{FF2B5EF4-FFF2-40B4-BE49-F238E27FC236}">
                <a16:creationId xmlns:a16="http://schemas.microsoft.com/office/drawing/2014/main" id="{58AC2A9B-0776-7D46-F625-92D68060B76F}"/>
              </a:ext>
            </a:extLst>
          </p:cNvPr>
          <p:cNvGrpSpPr/>
          <p:nvPr/>
        </p:nvGrpSpPr>
        <p:grpSpPr>
          <a:xfrm>
            <a:off x="-333069" y="6555699"/>
            <a:ext cx="12994208" cy="629923"/>
            <a:chOff x="0" y="0"/>
            <a:chExt cx="5133514" cy="248858"/>
          </a:xfrm>
        </p:grpSpPr>
        <p:sp>
          <p:nvSpPr>
            <p:cNvPr id="8" name="Freeform 8">
              <a:extLst>
                <a:ext uri="{FF2B5EF4-FFF2-40B4-BE49-F238E27FC236}">
                  <a16:creationId xmlns:a16="http://schemas.microsoft.com/office/drawing/2014/main" id="{E41781BF-8E06-80DD-9193-AF9D06302CDD}"/>
                </a:ext>
              </a:extLst>
            </p:cNvPr>
            <p:cNvSpPr/>
            <p:nvPr/>
          </p:nvSpPr>
          <p:spPr>
            <a:xfrm>
              <a:off x="0" y="0"/>
              <a:ext cx="5133514" cy="248858"/>
            </a:xfrm>
            <a:custGeom>
              <a:avLst/>
              <a:gdLst/>
              <a:ahLst/>
              <a:cxnLst/>
              <a:rect l="l" t="t" r="r" b="b"/>
              <a:pathLst>
                <a:path w="5133514" h="248858">
                  <a:moveTo>
                    <a:pt x="0" y="0"/>
                  </a:moveTo>
                  <a:lnTo>
                    <a:pt x="5133514" y="0"/>
                  </a:lnTo>
                  <a:lnTo>
                    <a:pt x="5133514" y="248858"/>
                  </a:lnTo>
                  <a:lnTo>
                    <a:pt x="0" y="248858"/>
                  </a:ln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9" name="TextBox 9">
              <a:extLst>
                <a:ext uri="{FF2B5EF4-FFF2-40B4-BE49-F238E27FC236}">
                  <a16:creationId xmlns:a16="http://schemas.microsoft.com/office/drawing/2014/main" id="{02E04237-577B-CD71-9F0D-1DE8CA017B18}"/>
                </a:ext>
              </a:extLst>
            </p:cNvPr>
            <p:cNvSpPr txBox="1"/>
            <p:nvPr/>
          </p:nvSpPr>
          <p:spPr>
            <a:xfrm>
              <a:off x="0" y="-76200"/>
              <a:ext cx="5133514" cy="32505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0" name="Freeform 10">
            <a:extLst>
              <a:ext uri="{FF2B5EF4-FFF2-40B4-BE49-F238E27FC236}">
                <a16:creationId xmlns:a16="http://schemas.microsoft.com/office/drawing/2014/main" id="{91266168-9B94-2F7E-11A3-B4A04D1B19FE}"/>
              </a:ext>
            </a:extLst>
          </p:cNvPr>
          <p:cNvSpPr/>
          <p:nvPr/>
        </p:nvSpPr>
        <p:spPr>
          <a:xfrm>
            <a:off x="8175567" y="134002"/>
            <a:ext cx="2235344" cy="440571"/>
          </a:xfrm>
          <a:custGeom>
            <a:avLst/>
            <a:gdLst/>
            <a:ahLst/>
            <a:cxnLst/>
            <a:rect l="l" t="t" r="r" b="b"/>
            <a:pathLst>
              <a:path w="3353016" h="660856">
                <a:moveTo>
                  <a:pt x="0" y="0"/>
                </a:moveTo>
                <a:lnTo>
                  <a:pt x="3353015" y="0"/>
                </a:lnTo>
                <a:lnTo>
                  <a:pt x="3353015" y="660856"/>
                </a:lnTo>
                <a:lnTo>
                  <a:pt x="0" y="660856"/>
                </a:lnTo>
                <a:lnTo>
                  <a:pt x="0" y="0"/>
                </a:lnTo>
                <a:close/>
              </a:path>
            </a:pathLst>
          </a:custGeom>
          <a:blipFill>
            <a:blip r:embed="rId6"/>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45" name="TextBox 15">
            <a:extLst>
              <a:ext uri="{FF2B5EF4-FFF2-40B4-BE49-F238E27FC236}">
                <a16:creationId xmlns:a16="http://schemas.microsoft.com/office/drawing/2014/main" id="{8D0CE4E6-6169-86CE-6849-781B5529A9E4}"/>
              </a:ext>
            </a:extLst>
          </p:cNvPr>
          <p:cNvSpPr txBox="1"/>
          <p:nvPr/>
        </p:nvSpPr>
        <p:spPr>
          <a:xfrm>
            <a:off x="3295907" y="2206552"/>
            <a:ext cx="2675923" cy="395258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51" name="TextBox 15">
            <a:extLst>
              <a:ext uri="{FF2B5EF4-FFF2-40B4-BE49-F238E27FC236}">
                <a16:creationId xmlns:a16="http://schemas.microsoft.com/office/drawing/2014/main" id="{8F99EE27-A483-CCAF-DE3B-893E276F8B1B}"/>
              </a:ext>
            </a:extLst>
          </p:cNvPr>
          <p:cNvSpPr txBox="1"/>
          <p:nvPr/>
        </p:nvSpPr>
        <p:spPr>
          <a:xfrm>
            <a:off x="9142262" y="2225436"/>
            <a:ext cx="2675923" cy="395258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aphicFrame>
        <p:nvGraphicFramePr>
          <p:cNvPr id="13" name="Diagram 12">
            <a:extLst>
              <a:ext uri="{FF2B5EF4-FFF2-40B4-BE49-F238E27FC236}">
                <a16:creationId xmlns:a16="http://schemas.microsoft.com/office/drawing/2014/main" id="{46E3EF45-0E0B-D46D-EFA3-D9431E84D9D7}"/>
              </a:ext>
            </a:extLst>
          </p:cNvPr>
          <p:cNvGraphicFramePr/>
          <p:nvPr/>
        </p:nvGraphicFramePr>
        <p:xfrm>
          <a:off x="1572847" y="1561124"/>
          <a:ext cx="8958382" cy="5054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66" name="TextBox 11">
            <a:extLst>
              <a:ext uri="{FF2B5EF4-FFF2-40B4-BE49-F238E27FC236}">
                <a16:creationId xmlns:a16="http://schemas.microsoft.com/office/drawing/2014/main" id="{9A7BA00F-182F-EEA0-95C2-744972C962E4}"/>
              </a:ext>
            </a:extLst>
          </p:cNvPr>
          <p:cNvSpPr txBox="1"/>
          <p:nvPr/>
        </p:nvSpPr>
        <p:spPr>
          <a:xfrm>
            <a:off x="685800" y="1192877"/>
            <a:ext cx="5477561" cy="40011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mn-ea"/>
                <a:cs typeface="Arial"/>
                <a:sym typeface="Arial Bold"/>
              </a:rPr>
              <a:t>NNME: Year One Timeline</a:t>
            </a:r>
          </a:p>
        </p:txBody>
      </p:sp>
    </p:spTree>
    <p:extLst>
      <p:ext uri="{BB962C8B-B14F-4D97-AF65-F5344CB8AC3E}">
        <p14:creationId xmlns:p14="http://schemas.microsoft.com/office/powerpoint/2010/main" val="262259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a:extLst>
            <a:ext uri="{FF2B5EF4-FFF2-40B4-BE49-F238E27FC236}">
              <a16:creationId xmlns:a16="http://schemas.microsoft.com/office/drawing/2014/main" id="{7B3C0FB8-CDB1-125E-6677-E8A7CEAC37F2}"/>
            </a:ext>
          </a:extLst>
        </p:cNvPr>
        <p:cNvGrpSpPr/>
        <p:nvPr/>
      </p:nvGrpSpPr>
      <p:grpSpPr>
        <a:xfrm>
          <a:off x="0" y="0"/>
          <a:ext cx="0" cy="0"/>
          <a:chOff x="0" y="0"/>
          <a:chExt cx="0" cy="0"/>
        </a:xfrm>
      </p:grpSpPr>
      <p:sp>
        <p:nvSpPr>
          <p:cNvPr id="3" name="Freeform 3">
            <a:extLst>
              <a:ext uri="{FF2B5EF4-FFF2-40B4-BE49-F238E27FC236}">
                <a16:creationId xmlns:a16="http://schemas.microsoft.com/office/drawing/2014/main" id="{177F92AC-7F42-36C8-F33F-43698A1A6FE6}"/>
              </a:ext>
            </a:extLst>
          </p:cNvPr>
          <p:cNvSpPr/>
          <p:nvPr/>
        </p:nvSpPr>
        <p:spPr>
          <a:xfrm flipH="1">
            <a:off x="10480370" y="-511305"/>
            <a:ext cx="2560418" cy="3341492"/>
          </a:xfrm>
          <a:custGeom>
            <a:avLst/>
            <a:gdLst/>
            <a:ahLst/>
            <a:cxnLst/>
            <a:rect l="l" t="t" r="r" b="b"/>
            <a:pathLst>
              <a:path w="3840627" h="5012238">
                <a:moveTo>
                  <a:pt x="3840627" y="0"/>
                </a:moveTo>
                <a:lnTo>
                  <a:pt x="0" y="0"/>
                </a:lnTo>
                <a:lnTo>
                  <a:pt x="0" y="5012238"/>
                </a:lnTo>
                <a:lnTo>
                  <a:pt x="3840627" y="5012238"/>
                </a:lnTo>
                <a:lnTo>
                  <a:pt x="3840627"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5" name="Group 5">
            <a:extLst>
              <a:ext uri="{FF2B5EF4-FFF2-40B4-BE49-F238E27FC236}">
                <a16:creationId xmlns:a16="http://schemas.microsoft.com/office/drawing/2014/main" id="{95BF02E9-AB5B-2319-73ED-AA075D03E311}"/>
              </a:ext>
            </a:extLst>
          </p:cNvPr>
          <p:cNvGrpSpPr/>
          <p:nvPr/>
        </p:nvGrpSpPr>
        <p:grpSpPr>
          <a:xfrm>
            <a:off x="-333069" y="6555699"/>
            <a:ext cx="12994208" cy="629923"/>
            <a:chOff x="0" y="0"/>
            <a:chExt cx="5133514" cy="248858"/>
          </a:xfrm>
        </p:grpSpPr>
        <p:sp>
          <p:nvSpPr>
            <p:cNvPr id="6" name="Freeform 6">
              <a:extLst>
                <a:ext uri="{FF2B5EF4-FFF2-40B4-BE49-F238E27FC236}">
                  <a16:creationId xmlns:a16="http://schemas.microsoft.com/office/drawing/2014/main" id="{25C5C9F0-468A-7334-3539-7C4754D52357}"/>
                </a:ext>
              </a:extLst>
            </p:cNvPr>
            <p:cNvSpPr/>
            <p:nvPr/>
          </p:nvSpPr>
          <p:spPr>
            <a:xfrm>
              <a:off x="0" y="0"/>
              <a:ext cx="5133514" cy="248858"/>
            </a:xfrm>
            <a:custGeom>
              <a:avLst/>
              <a:gdLst/>
              <a:ahLst/>
              <a:cxnLst/>
              <a:rect l="l" t="t" r="r" b="b"/>
              <a:pathLst>
                <a:path w="5133514" h="248858">
                  <a:moveTo>
                    <a:pt x="0" y="0"/>
                  </a:moveTo>
                  <a:lnTo>
                    <a:pt x="5133514" y="0"/>
                  </a:lnTo>
                  <a:lnTo>
                    <a:pt x="5133514" y="248858"/>
                  </a:lnTo>
                  <a:lnTo>
                    <a:pt x="0" y="248858"/>
                  </a:ln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7" name="TextBox 7">
              <a:extLst>
                <a:ext uri="{FF2B5EF4-FFF2-40B4-BE49-F238E27FC236}">
                  <a16:creationId xmlns:a16="http://schemas.microsoft.com/office/drawing/2014/main" id="{675436EA-6668-C269-7D89-95ECA8E27577}"/>
                </a:ext>
              </a:extLst>
            </p:cNvPr>
            <p:cNvSpPr txBox="1"/>
            <p:nvPr/>
          </p:nvSpPr>
          <p:spPr>
            <a:xfrm>
              <a:off x="0" y="-76200"/>
              <a:ext cx="5133514" cy="32505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8" name="Freeform 8">
            <a:extLst>
              <a:ext uri="{FF2B5EF4-FFF2-40B4-BE49-F238E27FC236}">
                <a16:creationId xmlns:a16="http://schemas.microsoft.com/office/drawing/2014/main" id="{1BA09522-22F5-CE45-FDF0-F9A9D365E692}"/>
              </a:ext>
            </a:extLst>
          </p:cNvPr>
          <p:cNvSpPr/>
          <p:nvPr/>
        </p:nvSpPr>
        <p:spPr>
          <a:xfrm>
            <a:off x="8175567" y="134002"/>
            <a:ext cx="2235344" cy="440571"/>
          </a:xfrm>
          <a:custGeom>
            <a:avLst/>
            <a:gdLst/>
            <a:ahLst/>
            <a:cxnLst/>
            <a:rect l="l" t="t" r="r" b="b"/>
            <a:pathLst>
              <a:path w="3353016" h="660856">
                <a:moveTo>
                  <a:pt x="0" y="0"/>
                </a:moveTo>
                <a:lnTo>
                  <a:pt x="3353015" y="0"/>
                </a:lnTo>
                <a:lnTo>
                  <a:pt x="3353015" y="660856"/>
                </a:lnTo>
                <a:lnTo>
                  <a:pt x="0" y="660856"/>
                </a:lnTo>
                <a:lnTo>
                  <a:pt x="0" y="0"/>
                </a:lnTo>
                <a:close/>
              </a:path>
            </a:pathLst>
          </a:custGeom>
          <a:blipFill>
            <a:blip r:embed="rId6"/>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4" name="TextBox 3">
            <a:extLst>
              <a:ext uri="{FF2B5EF4-FFF2-40B4-BE49-F238E27FC236}">
                <a16:creationId xmlns:a16="http://schemas.microsoft.com/office/drawing/2014/main" id="{BA93CB70-145F-D99D-ED9F-EE0C9CB2B36B}"/>
              </a:ext>
            </a:extLst>
          </p:cNvPr>
          <p:cNvSpPr txBox="1"/>
          <p:nvPr/>
        </p:nvSpPr>
        <p:spPr>
          <a:xfrm>
            <a:off x="642986" y="2186978"/>
            <a:ext cx="6298367" cy="461665"/>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ease join us!</a:t>
            </a:r>
          </a:p>
        </p:txBody>
      </p:sp>
      <p:sp>
        <p:nvSpPr>
          <p:cNvPr id="12" name="TextBox 11">
            <a:extLst>
              <a:ext uri="{FF2B5EF4-FFF2-40B4-BE49-F238E27FC236}">
                <a16:creationId xmlns:a16="http://schemas.microsoft.com/office/drawing/2014/main" id="{CA1BD586-8465-212B-ACC1-FADE895D44DB}"/>
              </a:ext>
            </a:extLst>
          </p:cNvPr>
          <p:cNvSpPr txBox="1"/>
          <p:nvPr/>
        </p:nvSpPr>
        <p:spPr>
          <a:xfrm>
            <a:off x="1107414" y="3101996"/>
            <a:ext cx="4262013" cy="584775"/>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otham-Book"/>
                <a:ea typeface="+mn-ea"/>
                <a:cs typeface="Gotham-Book" pitchFamily="2" charset="0"/>
              </a:rPr>
              <a:t>Spread the word about NNME to your educational networks</a:t>
            </a:r>
            <a:endParaRPr kumimoji="0" lang="en-US" sz="1600" b="0" i="0" u="none" strike="noStrike" kern="1200" cap="none" spc="0" normalizeH="0" baseline="0" noProof="0" dirty="0">
              <a:ln>
                <a:noFill/>
              </a:ln>
              <a:solidFill>
                <a:prstClr val="black"/>
              </a:solidFill>
              <a:effectLst/>
              <a:uLnTx/>
              <a:uFillTx/>
              <a:latin typeface="Gotham-Book" pitchFamily="2" charset="0"/>
              <a:ea typeface="+mn-ea"/>
              <a:cs typeface="Gotham-Book" pitchFamily="2" charset="0"/>
            </a:endParaRPr>
          </a:p>
        </p:txBody>
      </p:sp>
      <p:cxnSp>
        <p:nvCxnSpPr>
          <p:cNvPr id="22" name="Straight Connector 21">
            <a:extLst>
              <a:ext uri="{FF2B5EF4-FFF2-40B4-BE49-F238E27FC236}">
                <a16:creationId xmlns:a16="http://schemas.microsoft.com/office/drawing/2014/main" id="{6683FDAD-2039-8E48-4C1C-15283BD707C3}"/>
              </a:ext>
            </a:extLst>
          </p:cNvPr>
          <p:cNvCxnSpPr>
            <a:cxnSpLocks/>
          </p:cNvCxnSpPr>
          <p:nvPr/>
        </p:nvCxnSpPr>
        <p:spPr>
          <a:xfrm>
            <a:off x="535884" y="2801068"/>
            <a:ext cx="10745260" cy="0"/>
          </a:xfrm>
          <a:prstGeom prst="line">
            <a:avLst/>
          </a:prstGeom>
          <a:ln>
            <a:solidFill>
              <a:schemeClr val="accent3"/>
            </a:solidFill>
            <a:prstDash val="dash"/>
          </a:ln>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B55D003A-6FDF-CA82-29C9-E30E8E8C001C}"/>
              </a:ext>
            </a:extLst>
          </p:cNvPr>
          <p:cNvSpPr txBox="1"/>
          <p:nvPr/>
        </p:nvSpPr>
        <p:spPr>
          <a:xfrm>
            <a:off x="7027571" y="3101575"/>
            <a:ext cx="2732443" cy="584775"/>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otham-Book"/>
                <a:ea typeface="+mn-ea"/>
                <a:cs typeface="Gotham-Book" pitchFamily="2" charset="0"/>
              </a:rPr>
              <a:t>Join an NNME Node application</a:t>
            </a:r>
            <a:endParaRPr kumimoji="0" lang="en-US" sz="1600" b="0" i="0" u="none" strike="noStrike" kern="1200" cap="none" spc="0" normalizeH="0" baseline="0" noProof="0" dirty="0">
              <a:ln>
                <a:noFill/>
              </a:ln>
              <a:solidFill>
                <a:prstClr val="black"/>
              </a:solidFill>
              <a:effectLst/>
              <a:uLnTx/>
              <a:uFillTx/>
              <a:latin typeface="Gotham-Book" pitchFamily="2" charset="0"/>
              <a:ea typeface="+mn-ea"/>
              <a:cs typeface="Gotham-Book" pitchFamily="2" charset="0"/>
            </a:endParaRPr>
          </a:p>
        </p:txBody>
      </p:sp>
      <p:cxnSp>
        <p:nvCxnSpPr>
          <p:cNvPr id="35" name="Straight Connector 34">
            <a:extLst>
              <a:ext uri="{FF2B5EF4-FFF2-40B4-BE49-F238E27FC236}">
                <a16:creationId xmlns:a16="http://schemas.microsoft.com/office/drawing/2014/main" id="{A698AB78-96DA-50A0-AD14-08F8DE66E0E5}"/>
              </a:ext>
            </a:extLst>
          </p:cNvPr>
          <p:cNvCxnSpPr>
            <a:cxnSpLocks/>
          </p:cNvCxnSpPr>
          <p:nvPr/>
        </p:nvCxnSpPr>
        <p:spPr>
          <a:xfrm>
            <a:off x="6830939" y="2959454"/>
            <a:ext cx="0" cy="904378"/>
          </a:xfrm>
          <a:prstGeom prst="line">
            <a:avLst/>
          </a:prstGeom>
          <a:ln>
            <a:solidFill>
              <a:schemeClr val="accent3"/>
            </a:solidFill>
            <a:prstDash val="dash"/>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A30ED581-AC58-BF3F-7F3F-5F7260A375FC}"/>
              </a:ext>
            </a:extLst>
          </p:cNvPr>
          <p:cNvCxnSpPr>
            <a:cxnSpLocks/>
          </p:cNvCxnSpPr>
          <p:nvPr/>
        </p:nvCxnSpPr>
        <p:spPr>
          <a:xfrm>
            <a:off x="532572" y="4002780"/>
            <a:ext cx="10745260" cy="0"/>
          </a:xfrm>
          <a:prstGeom prst="line">
            <a:avLst/>
          </a:prstGeom>
          <a:ln>
            <a:solidFill>
              <a:schemeClr val="accent3"/>
            </a:solidFill>
            <a:prstDash val="dash"/>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B27FE20B-F99E-CE46-D214-C370D5320918}"/>
              </a:ext>
            </a:extLst>
          </p:cNvPr>
          <p:cNvSpPr txBox="1"/>
          <p:nvPr/>
        </p:nvSpPr>
        <p:spPr>
          <a:xfrm>
            <a:off x="2784797" y="5696359"/>
            <a:ext cx="2708997" cy="338554"/>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otham-Book"/>
                <a:ea typeface="+mn-ea"/>
                <a:cs typeface="Gotham-Book" pitchFamily="2" charset="0"/>
              </a:rPr>
              <a:t>Sign up for NNME Newsletter</a:t>
            </a:r>
            <a:endParaRPr kumimoji="0" lang="en-US" sz="1600" b="0" i="0" u="none" strike="noStrike" kern="1200" cap="none" spc="0" normalizeH="0" baseline="0" noProof="0" dirty="0">
              <a:ln>
                <a:noFill/>
              </a:ln>
              <a:solidFill>
                <a:prstClr val="black"/>
              </a:solidFill>
              <a:effectLst/>
              <a:uLnTx/>
              <a:uFillTx/>
              <a:latin typeface="Gotham-Book" pitchFamily="2" charset="0"/>
              <a:ea typeface="+mn-ea"/>
              <a:cs typeface="Gotham-Book" pitchFamily="2" charset="0"/>
            </a:endParaRPr>
          </a:p>
        </p:txBody>
      </p:sp>
      <p:cxnSp>
        <p:nvCxnSpPr>
          <p:cNvPr id="39" name="Straight Connector 38">
            <a:extLst>
              <a:ext uri="{FF2B5EF4-FFF2-40B4-BE49-F238E27FC236}">
                <a16:creationId xmlns:a16="http://schemas.microsoft.com/office/drawing/2014/main" id="{BE550506-DD0F-A56D-3BD4-C70D6B4F770F}"/>
              </a:ext>
            </a:extLst>
          </p:cNvPr>
          <p:cNvCxnSpPr>
            <a:cxnSpLocks/>
          </p:cNvCxnSpPr>
          <p:nvPr/>
        </p:nvCxnSpPr>
        <p:spPr>
          <a:xfrm>
            <a:off x="2431659" y="4175312"/>
            <a:ext cx="0" cy="2035690"/>
          </a:xfrm>
          <a:prstGeom prst="line">
            <a:avLst/>
          </a:prstGeom>
          <a:ln>
            <a:solidFill>
              <a:schemeClr val="accent3"/>
            </a:solidFill>
            <a:prstDash val="dash"/>
          </a:ln>
        </p:spPr>
        <p:style>
          <a:lnRef idx="2">
            <a:schemeClr val="accent1"/>
          </a:lnRef>
          <a:fillRef idx="0">
            <a:schemeClr val="accent1"/>
          </a:fillRef>
          <a:effectRef idx="1">
            <a:schemeClr val="accent1"/>
          </a:effectRef>
          <a:fontRef idx="minor">
            <a:schemeClr val="tx1"/>
          </a:fontRef>
        </p:style>
      </p:cxnSp>
      <p:sp>
        <p:nvSpPr>
          <p:cNvPr id="40" name="TextBox 39">
            <a:extLst>
              <a:ext uri="{FF2B5EF4-FFF2-40B4-BE49-F238E27FC236}">
                <a16:creationId xmlns:a16="http://schemas.microsoft.com/office/drawing/2014/main" id="{B28ADBF0-64B1-20F9-B861-9AE507C61DEC}"/>
              </a:ext>
            </a:extLst>
          </p:cNvPr>
          <p:cNvSpPr txBox="1"/>
          <p:nvPr/>
        </p:nvSpPr>
        <p:spPr>
          <a:xfrm>
            <a:off x="4139296" y="4358054"/>
            <a:ext cx="2906469" cy="584775"/>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otham-Book"/>
                <a:ea typeface="+mn-ea"/>
                <a:cs typeface="Gotham-Book" pitchFamily="2" charset="0"/>
              </a:rPr>
              <a:t>Identify and connect with fellow performers in your region</a:t>
            </a:r>
            <a:endParaRPr kumimoji="0" lang="en-US" sz="1600" b="0" i="0" u="none" strike="noStrike" kern="1200" cap="none" spc="0" normalizeH="0" baseline="0" noProof="0" dirty="0">
              <a:ln>
                <a:noFill/>
              </a:ln>
              <a:solidFill>
                <a:prstClr val="black"/>
              </a:solidFill>
              <a:effectLst/>
              <a:uLnTx/>
              <a:uFillTx/>
              <a:latin typeface="Gotham-Book" pitchFamily="2" charset="0"/>
              <a:ea typeface="+mn-ea"/>
              <a:cs typeface="Gotham-Book" pitchFamily="2" charset="0"/>
            </a:endParaRPr>
          </a:p>
        </p:txBody>
      </p:sp>
      <p:sp>
        <p:nvSpPr>
          <p:cNvPr id="41" name="TextBox 40">
            <a:extLst>
              <a:ext uri="{FF2B5EF4-FFF2-40B4-BE49-F238E27FC236}">
                <a16:creationId xmlns:a16="http://schemas.microsoft.com/office/drawing/2014/main" id="{E4BD271B-1F92-7631-CD9C-F339B135CA26}"/>
              </a:ext>
            </a:extLst>
          </p:cNvPr>
          <p:cNvSpPr txBox="1"/>
          <p:nvPr/>
        </p:nvSpPr>
        <p:spPr>
          <a:xfrm>
            <a:off x="532572" y="5240182"/>
            <a:ext cx="1756562" cy="584775"/>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otham-Book"/>
                <a:ea typeface="+mn-ea"/>
                <a:cs typeface="Gotham-Book" pitchFamily="2" charset="0"/>
              </a:rPr>
              <a:t>Invite NNME team to your events</a:t>
            </a:r>
            <a:endParaRPr kumimoji="0" lang="en-US" sz="1600" b="0" i="0" u="none" strike="noStrike" kern="1200" cap="none" spc="0" normalizeH="0" baseline="0" noProof="0" dirty="0">
              <a:ln>
                <a:noFill/>
              </a:ln>
              <a:solidFill>
                <a:prstClr val="black"/>
              </a:solidFill>
              <a:effectLst/>
              <a:uLnTx/>
              <a:uFillTx/>
              <a:latin typeface="Gotham-Book" pitchFamily="2" charset="0"/>
              <a:ea typeface="+mn-ea"/>
              <a:cs typeface="Gotham-Book" pitchFamily="2" charset="0"/>
            </a:endParaRPr>
          </a:p>
        </p:txBody>
      </p:sp>
      <p:sp>
        <p:nvSpPr>
          <p:cNvPr id="42" name="TextBox 41">
            <a:extLst>
              <a:ext uri="{FF2B5EF4-FFF2-40B4-BE49-F238E27FC236}">
                <a16:creationId xmlns:a16="http://schemas.microsoft.com/office/drawing/2014/main" id="{12DCD79A-70BE-F9AF-AAD0-F3C5EE441860}"/>
              </a:ext>
            </a:extLst>
          </p:cNvPr>
          <p:cNvSpPr txBox="1"/>
          <p:nvPr/>
        </p:nvSpPr>
        <p:spPr>
          <a:xfrm>
            <a:off x="7375262" y="4251014"/>
            <a:ext cx="2478042" cy="830997"/>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otham-Book"/>
                <a:ea typeface="+mn-ea"/>
                <a:cs typeface="Gotham-Book" pitchFamily="2" charset="0"/>
              </a:rPr>
              <a:t>Contribute thought partnership to Hub/Node buildout</a:t>
            </a:r>
            <a:endParaRPr kumimoji="0" lang="en-US" sz="1600" b="0" i="0" u="none" strike="noStrike" kern="1200" cap="none" spc="0" normalizeH="0" baseline="0" noProof="0" dirty="0">
              <a:ln>
                <a:noFill/>
              </a:ln>
              <a:solidFill>
                <a:prstClr val="black"/>
              </a:solidFill>
              <a:effectLst/>
              <a:uLnTx/>
              <a:uFillTx/>
              <a:latin typeface="Gotham-Book" pitchFamily="2" charset="0"/>
              <a:ea typeface="+mn-ea"/>
              <a:cs typeface="Gotham-Book" pitchFamily="2" charset="0"/>
            </a:endParaRPr>
          </a:p>
        </p:txBody>
      </p:sp>
      <p:grpSp>
        <p:nvGrpSpPr>
          <p:cNvPr id="30" name="Group 29">
            <a:extLst>
              <a:ext uri="{FF2B5EF4-FFF2-40B4-BE49-F238E27FC236}">
                <a16:creationId xmlns:a16="http://schemas.microsoft.com/office/drawing/2014/main" id="{728F9A55-36F4-FF4D-FEF5-6E1AFCD6F555}"/>
              </a:ext>
            </a:extLst>
          </p:cNvPr>
          <p:cNvGrpSpPr/>
          <p:nvPr/>
        </p:nvGrpSpPr>
        <p:grpSpPr>
          <a:xfrm>
            <a:off x="-1071087" y="885515"/>
            <a:ext cx="7167087" cy="1000958"/>
            <a:chOff x="0" y="0"/>
            <a:chExt cx="2831442" cy="395440"/>
          </a:xfrm>
        </p:grpSpPr>
        <p:sp>
          <p:nvSpPr>
            <p:cNvPr id="32" name="Freeform 4">
              <a:extLst>
                <a:ext uri="{FF2B5EF4-FFF2-40B4-BE49-F238E27FC236}">
                  <a16:creationId xmlns:a16="http://schemas.microsoft.com/office/drawing/2014/main" id="{2C7EF254-F894-773A-1B87-C852C6E61DA4}"/>
                </a:ext>
              </a:extLst>
            </p:cNvPr>
            <p:cNvSpPr/>
            <p:nvPr/>
          </p:nvSpPr>
          <p:spPr>
            <a:xfrm>
              <a:off x="0" y="0"/>
              <a:ext cx="2831442" cy="395440"/>
            </a:xfrm>
            <a:custGeom>
              <a:avLst/>
              <a:gdLst/>
              <a:ahLst/>
              <a:cxnLst/>
              <a:rect l="l" t="t" r="r" b="b"/>
              <a:pathLst>
                <a:path w="2831442" h="395440">
                  <a:moveTo>
                    <a:pt x="65532" y="0"/>
                  </a:moveTo>
                  <a:lnTo>
                    <a:pt x="2765909" y="0"/>
                  </a:lnTo>
                  <a:cubicBezTo>
                    <a:pt x="2802102" y="0"/>
                    <a:pt x="2831442" y="29340"/>
                    <a:pt x="2831442" y="65532"/>
                  </a:cubicBezTo>
                  <a:lnTo>
                    <a:pt x="2831442" y="329908"/>
                  </a:lnTo>
                  <a:cubicBezTo>
                    <a:pt x="2831442" y="366100"/>
                    <a:pt x="2802102" y="395440"/>
                    <a:pt x="2765909" y="395440"/>
                  </a:cubicBezTo>
                  <a:lnTo>
                    <a:pt x="65532" y="395440"/>
                  </a:lnTo>
                  <a:cubicBezTo>
                    <a:pt x="48152" y="395440"/>
                    <a:pt x="31484" y="388536"/>
                    <a:pt x="19194" y="376246"/>
                  </a:cubicBezTo>
                  <a:cubicBezTo>
                    <a:pt x="6904" y="363956"/>
                    <a:pt x="0" y="347288"/>
                    <a:pt x="0" y="329908"/>
                  </a:cubicBezTo>
                  <a:lnTo>
                    <a:pt x="0" y="65532"/>
                  </a:lnTo>
                  <a:cubicBezTo>
                    <a:pt x="0" y="48152"/>
                    <a:pt x="6904" y="31484"/>
                    <a:pt x="19194" y="19194"/>
                  </a:cubicBezTo>
                  <a:cubicBezTo>
                    <a:pt x="31484" y="6904"/>
                    <a:pt x="48152" y="0"/>
                    <a:pt x="65532" y="0"/>
                  </a:cubicBez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33" name="TextBox 5">
              <a:extLst>
                <a:ext uri="{FF2B5EF4-FFF2-40B4-BE49-F238E27FC236}">
                  <a16:creationId xmlns:a16="http://schemas.microsoft.com/office/drawing/2014/main" id="{07D85BC9-E8B2-7882-13FE-56BA7168B6AA}"/>
                </a:ext>
              </a:extLst>
            </p:cNvPr>
            <p:cNvSpPr txBox="1"/>
            <p:nvPr/>
          </p:nvSpPr>
          <p:spPr>
            <a:xfrm>
              <a:off x="0" y="-76200"/>
              <a:ext cx="2831442" cy="47164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cxnSp>
        <p:nvCxnSpPr>
          <p:cNvPr id="43" name="Straight Connector 42">
            <a:extLst>
              <a:ext uri="{FF2B5EF4-FFF2-40B4-BE49-F238E27FC236}">
                <a16:creationId xmlns:a16="http://schemas.microsoft.com/office/drawing/2014/main" id="{2C348441-473C-6A3A-453A-5407B1FC7A0B}"/>
              </a:ext>
            </a:extLst>
          </p:cNvPr>
          <p:cNvCxnSpPr>
            <a:cxnSpLocks/>
          </p:cNvCxnSpPr>
          <p:nvPr/>
        </p:nvCxnSpPr>
        <p:spPr>
          <a:xfrm>
            <a:off x="2641026" y="5243334"/>
            <a:ext cx="8636806" cy="0"/>
          </a:xfrm>
          <a:prstGeom prst="line">
            <a:avLst/>
          </a:prstGeom>
          <a:ln>
            <a:solidFill>
              <a:schemeClr val="accent3"/>
            </a:solidFill>
            <a:prstDash val="dash"/>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786F8E4C-F85F-9C59-8886-0BEEBA449AE6}"/>
              </a:ext>
            </a:extLst>
          </p:cNvPr>
          <p:cNvCxnSpPr>
            <a:cxnSpLocks/>
          </p:cNvCxnSpPr>
          <p:nvPr/>
        </p:nvCxnSpPr>
        <p:spPr>
          <a:xfrm>
            <a:off x="7179073" y="4177633"/>
            <a:ext cx="0" cy="904378"/>
          </a:xfrm>
          <a:prstGeom prst="line">
            <a:avLst/>
          </a:prstGeom>
          <a:ln>
            <a:solidFill>
              <a:schemeClr val="accent3"/>
            </a:solidFill>
            <a:prstDash val="dash"/>
          </a:ln>
        </p:spPr>
        <p:style>
          <a:lnRef idx="2">
            <a:schemeClr val="accent1"/>
          </a:lnRef>
          <a:fillRef idx="0">
            <a:schemeClr val="accent1"/>
          </a:fillRef>
          <a:effectRef idx="1">
            <a:schemeClr val="accent1"/>
          </a:effectRef>
          <a:fontRef idx="minor">
            <a:schemeClr val="tx1"/>
          </a:fontRef>
        </p:style>
      </p:cxnSp>
      <p:sp>
        <p:nvSpPr>
          <p:cNvPr id="14" name="TextBox 11">
            <a:extLst>
              <a:ext uri="{FF2B5EF4-FFF2-40B4-BE49-F238E27FC236}">
                <a16:creationId xmlns:a16="http://schemas.microsoft.com/office/drawing/2014/main" id="{A9B2A08E-9B54-341B-CA07-EEC407D8BD90}"/>
              </a:ext>
            </a:extLst>
          </p:cNvPr>
          <p:cNvSpPr txBox="1"/>
          <p:nvPr/>
        </p:nvSpPr>
        <p:spPr>
          <a:xfrm>
            <a:off x="685800" y="1192877"/>
            <a:ext cx="5477561" cy="40011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mn-ea"/>
                <a:cs typeface="Arial"/>
                <a:sym typeface="Arial Bold"/>
              </a:rPr>
              <a:t>NNME: Get Involved</a:t>
            </a:r>
          </a:p>
        </p:txBody>
      </p:sp>
      <p:pic>
        <p:nvPicPr>
          <p:cNvPr id="15" name="Graphic 14" descr="Group of people outline">
            <a:extLst>
              <a:ext uri="{FF2B5EF4-FFF2-40B4-BE49-F238E27FC236}">
                <a16:creationId xmlns:a16="http://schemas.microsoft.com/office/drawing/2014/main" id="{F34E485E-CE81-E330-CA75-C6CBE55B70C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69427" y="2936762"/>
            <a:ext cx="914400" cy="914400"/>
          </a:xfrm>
          <a:prstGeom prst="rect">
            <a:avLst/>
          </a:prstGeom>
        </p:spPr>
      </p:pic>
      <p:pic>
        <p:nvPicPr>
          <p:cNvPr id="17" name="Graphic 16" descr="Network outline">
            <a:extLst>
              <a:ext uri="{FF2B5EF4-FFF2-40B4-BE49-F238E27FC236}">
                <a16:creationId xmlns:a16="http://schemas.microsoft.com/office/drawing/2014/main" id="{6F8FB981-78B6-6227-7A6A-3A0E4C5731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04422" y="2946399"/>
            <a:ext cx="914400" cy="914400"/>
          </a:xfrm>
          <a:prstGeom prst="rect">
            <a:avLst/>
          </a:prstGeom>
        </p:spPr>
      </p:pic>
      <p:pic>
        <p:nvPicPr>
          <p:cNvPr id="19" name="Graphic 18" descr="Programmer male with solid fill">
            <a:extLst>
              <a:ext uri="{FF2B5EF4-FFF2-40B4-BE49-F238E27FC236}">
                <a16:creationId xmlns:a16="http://schemas.microsoft.com/office/drawing/2014/main" id="{FBB77164-66AA-EE5A-2D85-EBC0C8A6D9D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0830" y="4170301"/>
            <a:ext cx="914400" cy="914400"/>
          </a:xfrm>
          <a:prstGeom prst="rect">
            <a:avLst/>
          </a:prstGeom>
        </p:spPr>
      </p:pic>
      <p:pic>
        <p:nvPicPr>
          <p:cNvPr id="21" name="Graphic 20" descr="Network diagram outline">
            <a:extLst>
              <a:ext uri="{FF2B5EF4-FFF2-40B4-BE49-F238E27FC236}">
                <a16:creationId xmlns:a16="http://schemas.microsoft.com/office/drawing/2014/main" id="{BF936947-FBDE-E515-86CA-0A0AEB84E09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877770" y="4172289"/>
            <a:ext cx="914400" cy="914400"/>
          </a:xfrm>
          <a:prstGeom prst="rect">
            <a:avLst/>
          </a:prstGeom>
        </p:spPr>
      </p:pic>
      <p:pic>
        <p:nvPicPr>
          <p:cNvPr id="24" name="Graphic 23" descr="Processor outline">
            <a:extLst>
              <a:ext uri="{FF2B5EF4-FFF2-40B4-BE49-F238E27FC236}">
                <a16:creationId xmlns:a16="http://schemas.microsoft.com/office/drawing/2014/main" id="{6A68D22C-F9A2-7A1E-52C3-E2B50A87115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179073" y="5370176"/>
            <a:ext cx="914400" cy="914400"/>
          </a:xfrm>
          <a:prstGeom prst="rect">
            <a:avLst/>
          </a:prstGeom>
        </p:spPr>
      </p:pic>
      <p:pic>
        <p:nvPicPr>
          <p:cNvPr id="26" name="Graphic 25" descr="Blueprint outline">
            <a:extLst>
              <a:ext uri="{FF2B5EF4-FFF2-40B4-BE49-F238E27FC236}">
                <a16:creationId xmlns:a16="http://schemas.microsoft.com/office/drawing/2014/main" id="{D03BF846-D604-75AF-6107-2894D61DAAE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804422" y="4185485"/>
            <a:ext cx="914400" cy="914400"/>
          </a:xfrm>
          <a:prstGeom prst="rect">
            <a:avLst/>
          </a:prstGeom>
        </p:spPr>
      </p:pic>
      <p:pic>
        <p:nvPicPr>
          <p:cNvPr id="28" name="Graphic 27" descr="Newspaper outline">
            <a:extLst>
              <a:ext uri="{FF2B5EF4-FFF2-40B4-BE49-F238E27FC236}">
                <a16:creationId xmlns:a16="http://schemas.microsoft.com/office/drawing/2014/main" id="{D42B5BDB-BA13-C3D2-4AB5-19C07083C5E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518315" y="5380181"/>
            <a:ext cx="914400" cy="914400"/>
          </a:xfrm>
          <a:prstGeom prst="rect">
            <a:avLst/>
          </a:prstGeom>
        </p:spPr>
      </p:pic>
      <p:sp>
        <p:nvSpPr>
          <p:cNvPr id="50" name="TextBox 49">
            <a:extLst>
              <a:ext uri="{FF2B5EF4-FFF2-40B4-BE49-F238E27FC236}">
                <a16:creationId xmlns:a16="http://schemas.microsoft.com/office/drawing/2014/main" id="{C36BCAB4-77C9-ADCD-2BF8-880A00555EAF}"/>
              </a:ext>
            </a:extLst>
          </p:cNvPr>
          <p:cNvSpPr txBox="1"/>
          <p:nvPr/>
        </p:nvSpPr>
        <p:spPr>
          <a:xfrm>
            <a:off x="8393792" y="5539437"/>
            <a:ext cx="2884037" cy="584775"/>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otham-Book"/>
                <a:ea typeface="+mn-ea"/>
                <a:cs typeface="Gotham-Book" pitchFamily="2" charset="0"/>
              </a:rPr>
              <a:t>Highlight modernized curriculum and programming to NNME</a:t>
            </a:r>
            <a:endParaRPr kumimoji="0" lang="en-US" sz="1600" b="0" i="0" u="none" strike="noStrike" kern="1200" cap="none" spc="0" normalizeH="0" baseline="0" noProof="0" dirty="0">
              <a:ln>
                <a:noFill/>
              </a:ln>
              <a:solidFill>
                <a:prstClr val="black"/>
              </a:solidFill>
              <a:effectLst/>
              <a:uLnTx/>
              <a:uFillTx/>
              <a:latin typeface="Gotham-Book" pitchFamily="2" charset="0"/>
              <a:ea typeface="+mn-ea"/>
              <a:cs typeface="Gotham-Book" pitchFamily="2" charset="0"/>
            </a:endParaRPr>
          </a:p>
        </p:txBody>
      </p:sp>
      <p:cxnSp>
        <p:nvCxnSpPr>
          <p:cNvPr id="51" name="Straight Connector 50">
            <a:extLst>
              <a:ext uri="{FF2B5EF4-FFF2-40B4-BE49-F238E27FC236}">
                <a16:creationId xmlns:a16="http://schemas.microsoft.com/office/drawing/2014/main" id="{DF6A85CC-202A-9CFB-DD00-AC8286F7CAEC}"/>
              </a:ext>
            </a:extLst>
          </p:cNvPr>
          <p:cNvCxnSpPr>
            <a:cxnSpLocks/>
          </p:cNvCxnSpPr>
          <p:nvPr/>
        </p:nvCxnSpPr>
        <p:spPr>
          <a:xfrm>
            <a:off x="6830939" y="5413447"/>
            <a:ext cx="0" cy="904378"/>
          </a:xfrm>
          <a:prstGeom prst="line">
            <a:avLst/>
          </a:prstGeom>
          <a:ln>
            <a:solidFill>
              <a:schemeClr val="accent3"/>
            </a:solidFill>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1508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a:extLst>
            <a:ext uri="{FF2B5EF4-FFF2-40B4-BE49-F238E27FC236}">
              <a16:creationId xmlns:a16="http://schemas.microsoft.com/office/drawing/2014/main" id="{AE1AFE1B-7514-E454-8E94-8969D734C34D}"/>
            </a:ext>
          </a:extLst>
        </p:cNvPr>
        <p:cNvGrpSpPr/>
        <p:nvPr/>
      </p:nvGrpSpPr>
      <p:grpSpPr>
        <a:xfrm>
          <a:off x="0" y="0"/>
          <a:ext cx="0" cy="0"/>
          <a:chOff x="0" y="0"/>
          <a:chExt cx="0" cy="0"/>
        </a:xfrm>
      </p:grpSpPr>
      <p:grpSp>
        <p:nvGrpSpPr>
          <p:cNvPr id="7" name="Group 7">
            <a:extLst>
              <a:ext uri="{FF2B5EF4-FFF2-40B4-BE49-F238E27FC236}">
                <a16:creationId xmlns:a16="http://schemas.microsoft.com/office/drawing/2014/main" id="{BB4DA8C2-61F0-3537-5208-60769D00C180}"/>
              </a:ext>
            </a:extLst>
          </p:cNvPr>
          <p:cNvGrpSpPr/>
          <p:nvPr/>
        </p:nvGrpSpPr>
        <p:grpSpPr>
          <a:xfrm>
            <a:off x="-333069" y="6555699"/>
            <a:ext cx="12994208" cy="629923"/>
            <a:chOff x="0" y="0"/>
            <a:chExt cx="5133514" cy="248858"/>
          </a:xfrm>
        </p:grpSpPr>
        <p:sp>
          <p:nvSpPr>
            <p:cNvPr id="8" name="Freeform 8">
              <a:extLst>
                <a:ext uri="{FF2B5EF4-FFF2-40B4-BE49-F238E27FC236}">
                  <a16:creationId xmlns:a16="http://schemas.microsoft.com/office/drawing/2014/main" id="{4DC716D2-79B4-8700-51AE-05EE939A350F}"/>
                </a:ext>
              </a:extLst>
            </p:cNvPr>
            <p:cNvSpPr/>
            <p:nvPr/>
          </p:nvSpPr>
          <p:spPr>
            <a:xfrm>
              <a:off x="0" y="0"/>
              <a:ext cx="5133514" cy="248858"/>
            </a:xfrm>
            <a:custGeom>
              <a:avLst/>
              <a:gdLst/>
              <a:ahLst/>
              <a:cxnLst/>
              <a:rect l="l" t="t" r="r" b="b"/>
              <a:pathLst>
                <a:path w="5133514" h="248858">
                  <a:moveTo>
                    <a:pt x="0" y="0"/>
                  </a:moveTo>
                  <a:lnTo>
                    <a:pt x="5133514" y="0"/>
                  </a:lnTo>
                  <a:lnTo>
                    <a:pt x="5133514" y="248858"/>
                  </a:lnTo>
                  <a:lnTo>
                    <a:pt x="0" y="248858"/>
                  </a:ln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9" name="TextBox 9">
              <a:extLst>
                <a:ext uri="{FF2B5EF4-FFF2-40B4-BE49-F238E27FC236}">
                  <a16:creationId xmlns:a16="http://schemas.microsoft.com/office/drawing/2014/main" id="{930E611A-7411-2289-56AE-6D44306D7E72}"/>
                </a:ext>
              </a:extLst>
            </p:cNvPr>
            <p:cNvSpPr txBox="1"/>
            <p:nvPr/>
          </p:nvSpPr>
          <p:spPr>
            <a:xfrm>
              <a:off x="0" y="-76200"/>
              <a:ext cx="5133514" cy="32505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0" name="Freeform 10">
            <a:extLst>
              <a:ext uri="{FF2B5EF4-FFF2-40B4-BE49-F238E27FC236}">
                <a16:creationId xmlns:a16="http://schemas.microsoft.com/office/drawing/2014/main" id="{F44CAC87-881E-0BE8-7C9B-A05FCD9C5A1C}"/>
              </a:ext>
            </a:extLst>
          </p:cNvPr>
          <p:cNvSpPr/>
          <p:nvPr/>
        </p:nvSpPr>
        <p:spPr>
          <a:xfrm>
            <a:off x="8175567" y="134002"/>
            <a:ext cx="2235344" cy="440571"/>
          </a:xfrm>
          <a:custGeom>
            <a:avLst/>
            <a:gdLst/>
            <a:ahLst/>
            <a:cxnLst/>
            <a:rect l="l" t="t" r="r" b="b"/>
            <a:pathLst>
              <a:path w="3353016" h="660856">
                <a:moveTo>
                  <a:pt x="0" y="0"/>
                </a:moveTo>
                <a:lnTo>
                  <a:pt x="3353015" y="0"/>
                </a:lnTo>
                <a:lnTo>
                  <a:pt x="3353015" y="660856"/>
                </a:lnTo>
                <a:lnTo>
                  <a:pt x="0" y="660856"/>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6" name="TextBox 5">
            <a:extLst>
              <a:ext uri="{FF2B5EF4-FFF2-40B4-BE49-F238E27FC236}">
                <a16:creationId xmlns:a16="http://schemas.microsoft.com/office/drawing/2014/main" id="{DCA2ACDA-38AE-7BEF-CEBB-DEBBC3B6E0D0}"/>
              </a:ext>
            </a:extLst>
          </p:cNvPr>
          <p:cNvSpPr txBox="1"/>
          <p:nvPr/>
        </p:nvSpPr>
        <p:spPr>
          <a:xfrm>
            <a:off x="960257" y="3094687"/>
            <a:ext cx="8352472"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Cambria"/>
                <a:cs typeface="Arial" panose="020B0604020202020204" pitchFamily="34" charset="0"/>
              </a:rPr>
              <a:t>Questions or want to get updat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Cambri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Cambria"/>
                <a:cs typeface="Arial" panose="020B0604020202020204" pitchFamily="34" charset="0"/>
              </a:rPr>
              <a:t>Email </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Cambria"/>
                <a:cs typeface="Arial" panose="020B0604020202020204" pitchFamily="34" charset="0"/>
                <a:hlinkClick r:id="rId6"/>
              </a:rPr>
              <a:t>nnme@semi.org</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Cambria"/>
                <a:cs typeface="Arial" panose="020B0604020202020204" pitchFamily="34" charset="0"/>
              </a:rPr>
              <a:t> to be added to mailing li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Cambri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Cambria"/>
                <a:cs typeface="Arial" panose="020B0604020202020204" pitchFamily="34" charset="0"/>
              </a:rPr>
              <a:t>Website coming in May</a:t>
            </a:r>
          </a:p>
        </p:txBody>
      </p:sp>
      <p:sp>
        <p:nvSpPr>
          <p:cNvPr id="13" name="Freeform 6">
            <a:extLst>
              <a:ext uri="{FF2B5EF4-FFF2-40B4-BE49-F238E27FC236}">
                <a16:creationId xmlns:a16="http://schemas.microsoft.com/office/drawing/2014/main" id="{EB9D4DC5-7A32-CA34-8E10-80771649C787}"/>
              </a:ext>
            </a:extLst>
          </p:cNvPr>
          <p:cNvSpPr/>
          <p:nvPr/>
        </p:nvSpPr>
        <p:spPr>
          <a:xfrm flipH="1">
            <a:off x="10480370" y="-511305"/>
            <a:ext cx="2560418" cy="3341492"/>
          </a:xfrm>
          <a:custGeom>
            <a:avLst/>
            <a:gdLst/>
            <a:ahLst/>
            <a:cxnLst/>
            <a:rect l="l" t="t" r="r" b="b"/>
            <a:pathLst>
              <a:path w="3840627" h="5012238">
                <a:moveTo>
                  <a:pt x="3840627" y="0"/>
                </a:moveTo>
                <a:lnTo>
                  <a:pt x="0" y="0"/>
                </a:lnTo>
                <a:lnTo>
                  <a:pt x="0" y="5012238"/>
                </a:lnTo>
                <a:lnTo>
                  <a:pt x="3840627" y="5012238"/>
                </a:lnTo>
                <a:lnTo>
                  <a:pt x="3840627"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17" name="Group 3">
            <a:extLst>
              <a:ext uri="{FF2B5EF4-FFF2-40B4-BE49-F238E27FC236}">
                <a16:creationId xmlns:a16="http://schemas.microsoft.com/office/drawing/2014/main" id="{4805B1AF-F3F0-2744-46B1-99DFBFF14B4B}"/>
              </a:ext>
            </a:extLst>
          </p:cNvPr>
          <p:cNvGrpSpPr/>
          <p:nvPr/>
        </p:nvGrpSpPr>
        <p:grpSpPr>
          <a:xfrm>
            <a:off x="-1071087" y="692634"/>
            <a:ext cx="7167087" cy="1193839"/>
            <a:chOff x="0" y="-76200"/>
            <a:chExt cx="2831442" cy="471640"/>
          </a:xfrm>
        </p:grpSpPr>
        <p:sp>
          <p:nvSpPr>
            <p:cNvPr id="15" name="Freeform 4">
              <a:extLst>
                <a:ext uri="{FF2B5EF4-FFF2-40B4-BE49-F238E27FC236}">
                  <a16:creationId xmlns:a16="http://schemas.microsoft.com/office/drawing/2014/main" id="{57D52D31-F491-B79B-C9FA-8E2EAEC84109}"/>
                </a:ext>
              </a:extLst>
            </p:cNvPr>
            <p:cNvSpPr/>
            <p:nvPr/>
          </p:nvSpPr>
          <p:spPr>
            <a:xfrm>
              <a:off x="0" y="0"/>
              <a:ext cx="2831442" cy="395440"/>
            </a:xfrm>
            <a:custGeom>
              <a:avLst/>
              <a:gdLst/>
              <a:ahLst/>
              <a:cxnLst/>
              <a:rect l="l" t="t" r="r" b="b"/>
              <a:pathLst>
                <a:path w="2831442" h="395440">
                  <a:moveTo>
                    <a:pt x="65532" y="0"/>
                  </a:moveTo>
                  <a:lnTo>
                    <a:pt x="2765909" y="0"/>
                  </a:lnTo>
                  <a:cubicBezTo>
                    <a:pt x="2802102" y="0"/>
                    <a:pt x="2831442" y="29340"/>
                    <a:pt x="2831442" y="65532"/>
                  </a:cubicBezTo>
                  <a:lnTo>
                    <a:pt x="2831442" y="329908"/>
                  </a:lnTo>
                  <a:cubicBezTo>
                    <a:pt x="2831442" y="366100"/>
                    <a:pt x="2802102" y="395440"/>
                    <a:pt x="2765909" y="395440"/>
                  </a:cubicBezTo>
                  <a:lnTo>
                    <a:pt x="65532" y="395440"/>
                  </a:lnTo>
                  <a:cubicBezTo>
                    <a:pt x="48152" y="395440"/>
                    <a:pt x="31484" y="388536"/>
                    <a:pt x="19194" y="376246"/>
                  </a:cubicBezTo>
                  <a:cubicBezTo>
                    <a:pt x="6904" y="363956"/>
                    <a:pt x="0" y="347288"/>
                    <a:pt x="0" y="329908"/>
                  </a:cubicBezTo>
                  <a:lnTo>
                    <a:pt x="0" y="65532"/>
                  </a:lnTo>
                  <a:cubicBezTo>
                    <a:pt x="0" y="48152"/>
                    <a:pt x="6904" y="31484"/>
                    <a:pt x="19194" y="19194"/>
                  </a:cubicBezTo>
                  <a:cubicBezTo>
                    <a:pt x="31484" y="6904"/>
                    <a:pt x="48152" y="0"/>
                    <a:pt x="65532" y="0"/>
                  </a:cubicBez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16" name="TextBox 5">
              <a:extLst>
                <a:ext uri="{FF2B5EF4-FFF2-40B4-BE49-F238E27FC236}">
                  <a16:creationId xmlns:a16="http://schemas.microsoft.com/office/drawing/2014/main" id="{0529B4CE-80AA-7498-0D07-61FA0928671E}"/>
                </a:ext>
              </a:extLst>
            </p:cNvPr>
            <p:cNvSpPr txBox="1"/>
            <p:nvPr/>
          </p:nvSpPr>
          <p:spPr>
            <a:xfrm>
              <a:off x="0" y="-76200"/>
              <a:ext cx="2831442" cy="47164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9" name="TextBox 11">
            <a:extLst>
              <a:ext uri="{FF2B5EF4-FFF2-40B4-BE49-F238E27FC236}">
                <a16:creationId xmlns:a16="http://schemas.microsoft.com/office/drawing/2014/main" id="{2A35871B-FB3E-B1D5-8EE2-280AF626EEFA}"/>
              </a:ext>
            </a:extLst>
          </p:cNvPr>
          <p:cNvSpPr txBox="1"/>
          <p:nvPr/>
        </p:nvSpPr>
        <p:spPr>
          <a:xfrm>
            <a:off x="685800" y="1192877"/>
            <a:ext cx="5477561" cy="40011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mn-ea"/>
                <a:cs typeface="Arial"/>
                <a:sym typeface="Arial Bold"/>
              </a:rPr>
              <a:t>NNME: Contact Us</a:t>
            </a:r>
          </a:p>
        </p:txBody>
      </p:sp>
    </p:spTree>
    <p:extLst>
      <p:ext uri="{BB962C8B-B14F-4D97-AF65-F5344CB8AC3E}">
        <p14:creationId xmlns:p14="http://schemas.microsoft.com/office/powerpoint/2010/main" val="38151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alphaModFix amt="35000"/>
            </a:blip>
            <a:stretch>
              <a:fillRect t="-9259" b="-9259"/>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3" name="Group 3"/>
          <p:cNvGrpSpPr/>
          <p:nvPr/>
        </p:nvGrpSpPr>
        <p:grpSpPr>
          <a:xfrm rot="19798687">
            <a:off x="5296275" y="1537305"/>
            <a:ext cx="1069068" cy="6368139"/>
            <a:chOff x="0" y="0"/>
            <a:chExt cx="422348" cy="2515808"/>
          </a:xfrm>
        </p:grpSpPr>
        <p:sp>
          <p:nvSpPr>
            <p:cNvPr id="4" name="Freeform 4"/>
            <p:cNvSpPr/>
            <p:nvPr/>
          </p:nvSpPr>
          <p:spPr>
            <a:xfrm>
              <a:off x="0" y="0"/>
              <a:ext cx="422348" cy="2515808"/>
            </a:xfrm>
            <a:custGeom>
              <a:avLst/>
              <a:gdLst/>
              <a:ahLst/>
              <a:cxnLst/>
              <a:rect l="l" t="t" r="r" b="b"/>
              <a:pathLst>
                <a:path w="422348" h="2515808">
                  <a:moveTo>
                    <a:pt x="0" y="0"/>
                  </a:moveTo>
                  <a:lnTo>
                    <a:pt x="422348" y="0"/>
                  </a:lnTo>
                  <a:lnTo>
                    <a:pt x="422348" y="2515808"/>
                  </a:lnTo>
                  <a:lnTo>
                    <a:pt x="0" y="2515808"/>
                  </a:ln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5" name="TextBox 5"/>
            <p:cNvSpPr txBox="1"/>
            <p:nvPr/>
          </p:nvSpPr>
          <p:spPr>
            <a:xfrm>
              <a:off x="0" y="-76200"/>
              <a:ext cx="422348" cy="259200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grpSp>
        <p:nvGrpSpPr>
          <p:cNvPr id="6" name="Group 6"/>
          <p:cNvGrpSpPr/>
          <p:nvPr/>
        </p:nvGrpSpPr>
        <p:grpSpPr>
          <a:xfrm rot="1323218">
            <a:off x="-173529" y="-1666627"/>
            <a:ext cx="6219539" cy="9267285"/>
            <a:chOff x="0" y="0"/>
            <a:chExt cx="640025" cy="953655"/>
          </a:xfrm>
        </p:grpSpPr>
        <p:sp>
          <p:nvSpPr>
            <p:cNvPr id="7" name="Freeform 7"/>
            <p:cNvSpPr/>
            <p:nvPr/>
          </p:nvSpPr>
          <p:spPr>
            <a:xfrm>
              <a:off x="0" y="0"/>
              <a:ext cx="640025" cy="953655"/>
            </a:xfrm>
            <a:custGeom>
              <a:avLst/>
              <a:gdLst/>
              <a:ahLst/>
              <a:cxnLst/>
              <a:rect l="l" t="t" r="r" b="b"/>
              <a:pathLst>
                <a:path w="640025" h="953655">
                  <a:moveTo>
                    <a:pt x="203200" y="0"/>
                  </a:moveTo>
                  <a:lnTo>
                    <a:pt x="640025" y="0"/>
                  </a:lnTo>
                  <a:lnTo>
                    <a:pt x="436825" y="953655"/>
                  </a:lnTo>
                  <a:lnTo>
                    <a:pt x="0" y="953655"/>
                  </a:lnTo>
                  <a:lnTo>
                    <a:pt x="203200" y="0"/>
                  </a:lnTo>
                  <a:close/>
                </a:path>
              </a:pathLst>
            </a:custGeom>
            <a:solidFill>
              <a:srgbClr val="005AB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8" name="TextBox 8"/>
            <p:cNvSpPr txBox="1"/>
            <p:nvPr/>
          </p:nvSpPr>
          <p:spPr>
            <a:xfrm>
              <a:off x="101600" y="-76200"/>
              <a:ext cx="436825" cy="1029855"/>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9" name="Freeform 9"/>
          <p:cNvSpPr/>
          <p:nvPr/>
        </p:nvSpPr>
        <p:spPr>
          <a:xfrm rot="14365192">
            <a:off x="-363781" y="3235516"/>
            <a:ext cx="10820400" cy="513969"/>
          </a:xfrm>
          <a:custGeom>
            <a:avLst/>
            <a:gdLst/>
            <a:ahLst/>
            <a:cxnLst/>
            <a:rect l="l" t="t" r="r" b="b"/>
            <a:pathLst>
              <a:path w="16230600" h="770953">
                <a:moveTo>
                  <a:pt x="0" y="0"/>
                </a:moveTo>
                <a:lnTo>
                  <a:pt x="16230600" y="0"/>
                </a:lnTo>
                <a:lnTo>
                  <a:pt x="16230600" y="770954"/>
                </a:lnTo>
                <a:lnTo>
                  <a:pt x="0" y="770954"/>
                </a:lnTo>
                <a:lnTo>
                  <a:pt x="0" y="0"/>
                </a:lnTo>
                <a:close/>
              </a:path>
            </a:pathLst>
          </a:custGeom>
          <a:blipFill>
            <a:blip r:embed="rId3">
              <a:alphaModFix amt="52000"/>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10" name="Group 10"/>
          <p:cNvGrpSpPr/>
          <p:nvPr/>
        </p:nvGrpSpPr>
        <p:grpSpPr>
          <a:xfrm>
            <a:off x="0" y="-73884"/>
            <a:ext cx="6894410" cy="7005768"/>
            <a:chOff x="0" y="0"/>
            <a:chExt cx="5765800" cy="5858929"/>
          </a:xfrm>
        </p:grpSpPr>
        <p:sp>
          <p:nvSpPr>
            <p:cNvPr id="11" name="Freeform 11"/>
            <p:cNvSpPr/>
            <p:nvPr/>
          </p:nvSpPr>
          <p:spPr>
            <a:xfrm>
              <a:off x="0" y="0"/>
              <a:ext cx="5765800" cy="5858891"/>
            </a:xfrm>
            <a:custGeom>
              <a:avLst/>
              <a:gdLst/>
              <a:ahLst/>
              <a:cxnLst/>
              <a:rect l="l" t="t" r="r" b="b"/>
              <a:pathLst>
                <a:path w="5765800" h="5858891">
                  <a:moveTo>
                    <a:pt x="0" y="0"/>
                  </a:moveTo>
                  <a:lnTo>
                    <a:pt x="0" y="5858891"/>
                  </a:lnTo>
                  <a:lnTo>
                    <a:pt x="5765800" y="5858891"/>
                  </a:lnTo>
                  <a:lnTo>
                    <a:pt x="2235200" y="0"/>
                  </a:lnTo>
                  <a:close/>
                </a:path>
              </a:pathLst>
            </a:custGeom>
            <a:blipFill>
              <a:blip r:embed="rId4"/>
              <a:stretch>
                <a:fillRect l="-46977" r="-5253"/>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grpSp>
        <p:nvGrpSpPr>
          <p:cNvPr id="12" name="Group 12"/>
          <p:cNvGrpSpPr/>
          <p:nvPr/>
        </p:nvGrpSpPr>
        <p:grpSpPr>
          <a:xfrm rot="19798687">
            <a:off x="-808517" y="2957874"/>
            <a:ext cx="1373832" cy="5259582"/>
            <a:chOff x="0" y="0"/>
            <a:chExt cx="542748" cy="2077860"/>
          </a:xfrm>
        </p:grpSpPr>
        <p:sp>
          <p:nvSpPr>
            <p:cNvPr id="13" name="Freeform 13"/>
            <p:cNvSpPr/>
            <p:nvPr/>
          </p:nvSpPr>
          <p:spPr>
            <a:xfrm>
              <a:off x="0" y="0"/>
              <a:ext cx="542748" cy="2077860"/>
            </a:xfrm>
            <a:custGeom>
              <a:avLst/>
              <a:gdLst/>
              <a:ahLst/>
              <a:cxnLst/>
              <a:rect l="l" t="t" r="r" b="b"/>
              <a:pathLst>
                <a:path w="542748" h="2077860">
                  <a:moveTo>
                    <a:pt x="0" y="0"/>
                  </a:moveTo>
                  <a:lnTo>
                    <a:pt x="542748" y="0"/>
                  </a:lnTo>
                  <a:lnTo>
                    <a:pt x="542748" y="2077860"/>
                  </a:lnTo>
                  <a:lnTo>
                    <a:pt x="0" y="2077860"/>
                  </a:lnTo>
                  <a:close/>
                </a:path>
              </a:pathLst>
            </a:custGeom>
            <a:solidFill>
              <a:srgbClr val="005AB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14" name="TextBox 14"/>
            <p:cNvSpPr txBox="1"/>
            <p:nvPr/>
          </p:nvSpPr>
          <p:spPr>
            <a:xfrm>
              <a:off x="0" y="-76200"/>
              <a:ext cx="542748" cy="215406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5" name="Freeform 15"/>
          <p:cNvSpPr/>
          <p:nvPr/>
        </p:nvSpPr>
        <p:spPr>
          <a:xfrm rot="18468584">
            <a:off x="-2720436" y="1413430"/>
            <a:ext cx="8190527" cy="389050"/>
          </a:xfrm>
          <a:custGeom>
            <a:avLst/>
            <a:gdLst/>
            <a:ahLst/>
            <a:cxnLst/>
            <a:rect l="l" t="t" r="r" b="b"/>
            <a:pathLst>
              <a:path w="12285790" h="583575">
                <a:moveTo>
                  <a:pt x="0" y="0"/>
                </a:moveTo>
                <a:lnTo>
                  <a:pt x="12285790" y="0"/>
                </a:lnTo>
                <a:lnTo>
                  <a:pt x="12285790" y="583575"/>
                </a:lnTo>
                <a:lnTo>
                  <a:pt x="0" y="583575"/>
                </a:lnTo>
                <a:lnTo>
                  <a:pt x="0" y="0"/>
                </a:lnTo>
                <a:close/>
              </a:path>
            </a:pathLst>
          </a:custGeom>
          <a:blipFill>
            <a:blip r:embed="rId3">
              <a:alphaModFix amt="65000"/>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16" name="Group 16"/>
          <p:cNvGrpSpPr/>
          <p:nvPr/>
        </p:nvGrpSpPr>
        <p:grpSpPr>
          <a:xfrm rot="2252587">
            <a:off x="-736838" y="-1492963"/>
            <a:ext cx="2057400" cy="5230562"/>
            <a:chOff x="0" y="0"/>
            <a:chExt cx="812800" cy="2066395"/>
          </a:xfrm>
        </p:grpSpPr>
        <p:sp>
          <p:nvSpPr>
            <p:cNvPr id="17" name="Freeform 17"/>
            <p:cNvSpPr/>
            <p:nvPr/>
          </p:nvSpPr>
          <p:spPr>
            <a:xfrm>
              <a:off x="0" y="0"/>
              <a:ext cx="812800" cy="2066395"/>
            </a:xfrm>
            <a:custGeom>
              <a:avLst/>
              <a:gdLst/>
              <a:ahLst/>
              <a:cxnLst/>
              <a:rect l="l" t="t" r="r" b="b"/>
              <a:pathLst>
                <a:path w="812800" h="2066395">
                  <a:moveTo>
                    <a:pt x="0" y="0"/>
                  </a:moveTo>
                  <a:lnTo>
                    <a:pt x="812800" y="0"/>
                  </a:lnTo>
                  <a:lnTo>
                    <a:pt x="812800" y="2066395"/>
                  </a:lnTo>
                  <a:lnTo>
                    <a:pt x="0" y="2066395"/>
                  </a:ln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18" name="TextBox 18"/>
            <p:cNvSpPr txBox="1"/>
            <p:nvPr/>
          </p:nvSpPr>
          <p:spPr>
            <a:xfrm>
              <a:off x="0" y="-76200"/>
              <a:ext cx="812800" cy="2142595"/>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23" name="TextBox 23"/>
          <p:cNvSpPr txBox="1"/>
          <p:nvPr/>
        </p:nvSpPr>
        <p:spPr>
          <a:xfrm>
            <a:off x="5644702" y="4169410"/>
            <a:ext cx="5861499" cy="123110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E2841"/>
                </a:solidFill>
                <a:effectLst/>
                <a:uLnTx/>
                <a:uFillTx/>
                <a:latin typeface="Calibri" panose="020F0502020204030204" pitchFamily="34" charset="0"/>
                <a:ea typeface="Calibri" panose="020F0502020204030204" pitchFamily="34" charset="0"/>
                <a:cs typeface="Calibri" panose="020F0502020204030204" pitchFamily="34" charset="0"/>
              </a:rPr>
              <a:t>Patrick Gillen</a:t>
            </a:r>
          </a:p>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E2841"/>
                </a:solidFill>
                <a:effectLst/>
                <a:uLnTx/>
                <a:uFillTx/>
                <a:latin typeface="Calibri" panose="020F0502020204030204" pitchFamily="34" charset="0"/>
                <a:ea typeface="Calibri" panose="020F0502020204030204" pitchFamily="34" charset="0"/>
                <a:cs typeface="Calibri" panose="020F0502020204030204" pitchFamily="34" charset="0"/>
              </a:rPr>
              <a:t>Program Manager, WFD &amp; Special Projects</a:t>
            </a:r>
          </a:p>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E2841"/>
                </a:solidFill>
                <a:effectLst/>
                <a:uLnTx/>
                <a:uFillTx/>
                <a:latin typeface="Calibri" panose="020F0502020204030204" pitchFamily="34" charset="0"/>
                <a:ea typeface="Calibri" panose="020F0502020204030204" pitchFamily="34" charset="0"/>
                <a:cs typeface="Calibri" panose="020F0502020204030204" pitchFamily="34" charset="0"/>
              </a:rPr>
              <a:t>SEMI Foundation</a:t>
            </a:r>
            <a:endParaRPr kumimoji="0" lang="en-US" sz="2000" b="0" i="0" u="none" strike="noStrike" kern="1200" cap="none" spc="0" normalizeH="0" baseline="0" noProof="0" dirty="0">
              <a:ln>
                <a:noFill/>
              </a:ln>
              <a:solidFill>
                <a:srgbClr val="0E284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E2841"/>
                </a:solidFill>
                <a:effectLst/>
                <a:uLnTx/>
                <a:uFillTx/>
                <a:latin typeface="Calibri" panose="020F0502020204030204" pitchFamily="34" charset="0"/>
                <a:ea typeface="Calibri" panose="020F0502020204030204" pitchFamily="34" charset="0"/>
                <a:cs typeface="Calibri" panose="020F0502020204030204" pitchFamily="34" charset="0"/>
              </a:rPr>
              <a:t>pgillen@semi.org</a:t>
            </a:r>
          </a:p>
        </p:txBody>
      </p:sp>
      <p:sp>
        <p:nvSpPr>
          <p:cNvPr id="24" name="Freeform 8">
            <a:extLst>
              <a:ext uri="{FF2B5EF4-FFF2-40B4-BE49-F238E27FC236}">
                <a16:creationId xmlns:a16="http://schemas.microsoft.com/office/drawing/2014/main" id="{18B1B1F8-F0E0-E72A-B008-52F14424BD8E}"/>
              </a:ext>
            </a:extLst>
          </p:cNvPr>
          <p:cNvSpPr/>
          <p:nvPr/>
        </p:nvSpPr>
        <p:spPr>
          <a:xfrm>
            <a:off x="8175567" y="134002"/>
            <a:ext cx="2235344" cy="440571"/>
          </a:xfrm>
          <a:custGeom>
            <a:avLst/>
            <a:gdLst/>
            <a:ahLst/>
            <a:cxnLst/>
            <a:rect l="l" t="t" r="r" b="b"/>
            <a:pathLst>
              <a:path w="3353016" h="660856">
                <a:moveTo>
                  <a:pt x="0" y="0"/>
                </a:moveTo>
                <a:lnTo>
                  <a:pt x="3353015" y="0"/>
                </a:lnTo>
                <a:lnTo>
                  <a:pt x="3353015" y="660856"/>
                </a:lnTo>
                <a:lnTo>
                  <a:pt x="0" y="660856"/>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25" name="Group 3">
            <a:extLst>
              <a:ext uri="{FF2B5EF4-FFF2-40B4-BE49-F238E27FC236}">
                <a16:creationId xmlns:a16="http://schemas.microsoft.com/office/drawing/2014/main" id="{ED1200D4-D626-97AB-E1E5-805135520F74}"/>
              </a:ext>
            </a:extLst>
          </p:cNvPr>
          <p:cNvGrpSpPr/>
          <p:nvPr/>
        </p:nvGrpSpPr>
        <p:grpSpPr>
          <a:xfrm>
            <a:off x="7558291" y="692634"/>
            <a:ext cx="7167087" cy="1193839"/>
            <a:chOff x="0" y="-76200"/>
            <a:chExt cx="2831442" cy="471640"/>
          </a:xfrm>
        </p:grpSpPr>
        <p:sp>
          <p:nvSpPr>
            <p:cNvPr id="26" name="Freeform 4">
              <a:extLst>
                <a:ext uri="{FF2B5EF4-FFF2-40B4-BE49-F238E27FC236}">
                  <a16:creationId xmlns:a16="http://schemas.microsoft.com/office/drawing/2014/main" id="{A032E112-3D01-7854-FE34-CD590114905B}"/>
                </a:ext>
              </a:extLst>
            </p:cNvPr>
            <p:cNvSpPr/>
            <p:nvPr/>
          </p:nvSpPr>
          <p:spPr>
            <a:xfrm>
              <a:off x="0" y="0"/>
              <a:ext cx="2831442" cy="395440"/>
            </a:xfrm>
            <a:custGeom>
              <a:avLst/>
              <a:gdLst/>
              <a:ahLst/>
              <a:cxnLst/>
              <a:rect l="l" t="t" r="r" b="b"/>
              <a:pathLst>
                <a:path w="2831442" h="395440">
                  <a:moveTo>
                    <a:pt x="65532" y="0"/>
                  </a:moveTo>
                  <a:lnTo>
                    <a:pt x="2765909" y="0"/>
                  </a:lnTo>
                  <a:cubicBezTo>
                    <a:pt x="2802102" y="0"/>
                    <a:pt x="2831442" y="29340"/>
                    <a:pt x="2831442" y="65532"/>
                  </a:cubicBezTo>
                  <a:lnTo>
                    <a:pt x="2831442" y="329908"/>
                  </a:lnTo>
                  <a:cubicBezTo>
                    <a:pt x="2831442" y="366100"/>
                    <a:pt x="2802102" y="395440"/>
                    <a:pt x="2765909" y="395440"/>
                  </a:cubicBezTo>
                  <a:lnTo>
                    <a:pt x="65532" y="395440"/>
                  </a:lnTo>
                  <a:cubicBezTo>
                    <a:pt x="48152" y="395440"/>
                    <a:pt x="31484" y="388536"/>
                    <a:pt x="19194" y="376246"/>
                  </a:cubicBezTo>
                  <a:cubicBezTo>
                    <a:pt x="6904" y="363956"/>
                    <a:pt x="0" y="347288"/>
                    <a:pt x="0" y="329908"/>
                  </a:cubicBezTo>
                  <a:lnTo>
                    <a:pt x="0" y="65532"/>
                  </a:lnTo>
                  <a:cubicBezTo>
                    <a:pt x="0" y="48152"/>
                    <a:pt x="6904" y="31484"/>
                    <a:pt x="19194" y="19194"/>
                  </a:cubicBezTo>
                  <a:cubicBezTo>
                    <a:pt x="31484" y="6904"/>
                    <a:pt x="48152" y="0"/>
                    <a:pt x="65532" y="0"/>
                  </a:cubicBez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27" name="TextBox 5">
              <a:extLst>
                <a:ext uri="{FF2B5EF4-FFF2-40B4-BE49-F238E27FC236}">
                  <a16:creationId xmlns:a16="http://schemas.microsoft.com/office/drawing/2014/main" id="{FB603006-5294-1695-FD9E-A14119777A64}"/>
                </a:ext>
              </a:extLst>
            </p:cNvPr>
            <p:cNvSpPr txBox="1"/>
            <p:nvPr/>
          </p:nvSpPr>
          <p:spPr>
            <a:xfrm>
              <a:off x="0" y="-76200"/>
              <a:ext cx="2831442" cy="47164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28" name="TextBox 11">
            <a:extLst>
              <a:ext uri="{FF2B5EF4-FFF2-40B4-BE49-F238E27FC236}">
                <a16:creationId xmlns:a16="http://schemas.microsoft.com/office/drawing/2014/main" id="{09FA37F5-A9CB-BFAD-BCD0-863CFB4C0DAF}"/>
              </a:ext>
            </a:extLst>
          </p:cNvPr>
          <p:cNvSpPr txBox="1"/>
          <p:nvPr/>
        </p:nvSpPr>
        <p:spPr>
          <a:xfrm>
            <a:off x="9315178" y="1192877"/>
            <a:ext cx="5477561" cy="40011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mn-ea"/>
                <a:cs typeface="Arial"/>
                <a:sym typeface="Arial Bold"/>
              </a:rPr>
              <a:t>Thank you!</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5964CBE2-084A-47DF-A704-CF5F6217B5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2" name="Title 1"/>
          <p:cNvSpPr>
            <a:spLocks noGrp="1"/>
          </p:cNvSpPr>
          <p:nvPr>
            <p:ph type="ctrTitle"/>
          </p:nvPr>
        </p:nvSpPr>
        <p:spPr>
          <a:xfrm>
            <a:off x="838199" y="1174819"/>
            <a:ext cx="4826795" cy="2858363"/>
          </a:xfrm>
        </p:spPr>
        <p:txBody>
          <a:bodyPr>
            <a:normAutofit/>
          </a:bodyPr>
          <a:lstStyle/>
          <a:p>
            <a:pPr algn="l"/>
            <a:r>
              <a:rPr lang="en-US" sz="7200">
                <a:solidFill>
                  <a:schemeClr val="bg1"/>
                </a:solidFill>
              </a:rPr>
              <a:t>Career Tech in Ohio</a:t>
            </a:r>
          </a:p>
        </p:txBody>
      </p:sp>
      <p:sp>
        <p:nvSpPr>
          <p:cNvPr id="3" name="Subtitle 2"/>
          <p:cNvSpPr>
            <a:spLocks noGrp="1"/>
          </p:cNvSpPr>
          <p:nvPr>
            <p:ph type="subTitle" idx="1"/>
          </p:nvPr>
        </p:nvSpPr>
        <p:spPr>
          <a:xfrm>
            <a:off x="835024" y="4414180"/>
            <a:ext cx="4830283" cy="1594507"/>
          </a:xfrm>
        </p:spPr>
        <p:txBody>
          <a:bodyPr vert="horz" lIns="91440" tIns="45720" rIns="91440" bIns="45720" rtlCol="0">
            <a:normAutofit/>
          </a:bodyPr>
          <a:lstStyle/>
          <a:p>
            <a:pPr algn="l"/>
            <a:r>
              <a:rPr lang="en-US">
                <a:solidFill>
                  <a:schemeClr val="bg1"/>
                </a:solidFill>
              </a:rPr>
              <a:t>Brett Doudican</a:t>
            </a:r>
          </a:p>
        </p:txBody>
      </p:sp>
      <p:pic>
        <p:nvPicPr>
          <p:cNvPr id="4" name="Picture 3" descr="Career &amp; Technical Education - iLEAD Exploration">
            <a:extLst>
              <a:ext uri="{FF2B5EF4-FFF2-40B4-BE49-F238E27FC236}">
                <a16:creationId xmlns:a16="http://schemas.microsoft.com/office/drawing/2014/main" id="{9C26A964-AEF2-6888-A637-C5FABDADB77F}"/>
              </a:ext>
            </a:extLst>
          </p:cNvPr>
          <p:cNvPicPr>
            <a:picLocks noChangeAspect="1"/>
          </p:cNvPicPr>
          <p:nvPr/>
        </p:nvPicPr>
        <p:blipFill>
          <a:blip r:embed="rId2"/>
          <a:srcRect l="18180" r="18958" b="2"/>
          <a:stretch>
            <a:fillRect/>
          </a:stretch>
        </p:blipFill>
        <p:spPr>
          <a:xfrm>
            <a:off x="6096000" y="841375"/>
            <a:ext cx="5260975" cy="4707593"/>
          </a:xfrm>
          <a:custGeom>
            <a:avLst/>
            <a:gdLst/>
            <a:ahLst/>
            <a:cxnLst/>
            <a:rect l="l" t="t" r="r" b="b"/>
            <a:pathLst>
              <a:path w="5260975" h="4707593">
                <a:moveTo>
                  <a:pt x="0" y="0"/>
                </a:moveTo>
                <a:lnTo>
                  <a:pt x="5260975" y="0"/>
                </a:lnTo>
                <a:lnTo>
                  <a:pt x="5260975" y="3296937"/>
                </a:lnTo>
                <a:lnTo>
                  <a:pt x="5260975" y="3518571"/>
                </a:lnTo>
                <a:lnTo>
                  <a:pt x="5226503" y="3534000"/>
                </a:lnTo>
                <a:cubicBezTo>
                  <a:pt x="5219783" y="3536785"/>
                  <a:pt x="5212389" y="3538321"/>
                  <a:pt x="5206341" y="3542065"/>
                </a:cubicBezTo>
                <a:cubicBezTo>
                  <a:pt x="5178495" y="3559156"/>
                  <a:pt x="5151515" y="3577591"/>
                  <a:pt x="5123287" y="3594010"/>
                </a:cubicBezTo>
                <a:cubicBezTo>
                  <a:pt x="5094195" y="3611004"/>
                  <a:pt x="5068175" y="3631071"/>
                  <a:pt x="5048107" y="3658244"/>
                </a:cubicBezTo>
                <a:cubicBezTo>
                  <a:pt x="5029480" y="3683496"/>
                  <a:pt x="5011429" y="3709131"/>
                  <a:pt x="4992899" y="3734479"/>
                </a:cubicBezTo>
                <a:cubicBezTo>
                  <a:pt x="4988194" y="3740912"/>
                  <a:pt x="4983873" y="3748498"/>
                  <a:pt x="4977440" y="3752627"/>
                </a:cubicBezTo>
                <a:cubicBezTo>
                  <a:pt x="4964094" y="3761268"/>
                  <a:pt x="4949499" y="3768277"/>
                  <a:pt x="4935193" y="3775382"/>
                </a:cubicBezTo>
                <a:cubicBezTo>
                  <a:pt x="4922903" y="3781431"/>
                  <a:pt x="4909845" y="3785943"/>
                  <a:pt x="4897844" y="3792472"/>
                </a:cubicBezTo>
                <a:cubicBezTo>
                  <a:pt x="4888243" y="3797658"/>
                  <a:pt x="4879697" y="3804859"/>
                  <a:pt x="4870767" y="3811388"/>
                </a:cubicBezTo>
                <a:cubicBezTo>
                  <a:pt x="4862990" y="3817052"/>
                  <a:pt x="4854445" y="3821949"/>
                  <a:pt x="4847916" y="3828767"/>
                </a:cubicBezTo>
                <a:cubicBezTo>
                  <a:pt x="4831977" y="3845281"/>
                  <a:pt x="4815942" y="3861508"/>
                  <a:pt x="4796163" y="3873702"/>
                </a:cubicBezTo>
                <a:cubicBezTo>
                  <a:pt x="4776672" y="3885799"/>
                  <a:pt x="4758237" y="3899338"/>
                  <a:pt x="4738843" y="3911628"/>
                </a:cubicBezTo>
                <a:cubicBezTo>
                  <a:pt x="4719831" y="3923630"/>
                  <a:pt x="4702645" y="3936783"/>
                  <a:pt x="4692755" y="3958099"/>
                </a:cubicBezTo>
                <a:cubicBezTo>
                  <a:pt x="4688339" y="3967508"/>
                  <a:pt x="4682097" y="3977782"/>
                  <a:pt x="4673744" y="3983255"/>
                </a:cubicBezTo>
                <a:cubicBezTo>
                  <a:pt x="4661838" y="3991032"/>
                  <a:pt x="4646764" y="3993817"/>
                  <a:pt x="4633801" y="4000442"/>
                </a:cubicBezTo>
                <a:cubicBezTo>
                  <a:pt x="4618535" y="4008219"/>
                  <a:pt x="4600869" y="4014940"/>
                  <a:pt x="4590499" y="4027326"/>
                </a:cubicBezTo>
                <a:cubicBezTo>
                  <a:pt x="4581281" y="4038368"/>
                  <a:pt x="4571968" y="4047009"/>
                  <a:pt x="4559773" y="4054018"/>
                </a:cubicBezTo>
                <a:cubicBezTo>
                  <a:pt x="4551229" y="4058915"/>
                  <a:pt x="4544892" y="4067844"/>
                  <a:pt x="4536059" y="4071877"/>
                </a:cubicBezTo>
                <a:cubicBezTo>
                  <a:pt x="4524441" y="4077254"/>
                  <a:pt x="4512727" y="4081479"/>
                  <a:pt x="4502549" y="4089832"/>
                </a:cubicBezTo>
                <a:cubicBezTo>
                  <a:pt x="4491987" y="4098473"/>
                  <a:pt x="4479986" y="4105290"/>
                  <a:pt x="4468944" y="4113356"/>
                </a:cubicBezTo>
                <a:cubicBezTo>
                  <a:pt x="4463087" y="4117676"/>
                  <a:pt x="4458286" y="4123341"/>
                  <a:pt x="4452622" y="4127854"/>
                </a:cubicBezTo>
                <a:cubicBezTo>
                  <a:pt x="4442252" y="4136111"/>
                  <a:pt x="4431690" y="4144176"/>
                  <a:pt x="4421032" y="4151953"/>
                </a:cubicBezTo>
                <a:cubicBezTo>
                  <a:pt x="4410375" y="4159731"/>
                  <a:pt x="4400197" y="4168756"/>
                  <a:pt x="4388483" y="4174421"/>
                </a:cubicBezTo>
                <a:cubicBezTo>
                  <a:pt x="4368513" y="4184023"/>
                  <a:pt x="4346717" y="4189784"/>
                  <a:pt x="4327321" y="4200153"/>
                </a:cubicBezTo>
                <a:cubicBezTo>
                  <a:pt x="4307639" y="4210714"/>
                  <a:pt x="4289107" y="4223965"/>
                  <a:pt x="4271633" y="4237983"/>
                </a:cubicBezTo>
                <a:cubicBezTo>
                  <a:pt x="4257807" y="4249025"/>
                  <a:pt x="4244845" y="4259971"/>
                  <a:pt x="4227465" y="4265635"/>
                </a:cubicBezTo>
                <a:cubicBezTo>
                  <a:pt x="4217768" y="4268804"/>
                  <a:pt x="4207591" y="4275717"/>
                  <a:pt x="4201733" y="4283783"/>
                </a:cubicBezTo>
                <a:cubicBezTo>
                  <a:pt x="4189059" y="4301353"/>
                  <a:pt x="4172833" y="4313739"/>
                  <a:pt x="4154494" y="4324301"/>
                </a:cubicBezTo>
                <a:cubicBezTo>
                  <a:pt x="4130010" y="4338511"/>
                  <a:pt x="4105814" y="4353009"/>
                  <a:pt x="4081234" y="4366931"/>
                </a:cubicBezTo>
                <a:cubicBezTo>
                  <a:pt x="4066737" y="4375189"/>
                  <a:pt x="4052335" y="4383926"/>
                  <a:pt x="4036971" y="4389975"/>
                </a:cubicBezTo>
                <a:cubicBezTo>
                  <a:pt x="4005575" y="4402457"/>
                  <a:pt x="3973410" y="4413114"/>
                  <a:pt x="3941725" y="4424733"/>
                </a:cubicBezTo>
                <a:cubicBezTo>
                  <a:pt x="3931355" y="4428477"/>
                  <a:pt x="3921561" y="4433854"/>
                  <a:pt x="3910999" y="4437119"/>
                </a:cubicBezTo>
                <a:cubicBezTo>
                  <a:pt x="3899573" y="4440671"/>
                  <a:pt x="3887285" y="4441727"/>
                  <a:pt x="3875859" y="4445280"/>
                </a:cubicBezTo>
                <a:cubicBezTo>
                  <a:pt x="3856847" y="4451136"/>
                  <a:pt x="3838412" y="4458626"/>
                  <a:pt x="3819401" y="4464579"/>
                </a:cubicBezTo>
                <a:cubicBezTo>
                  <a:pt x="3782723" y="4476005"/>
                  <a:pt x="3745949" y="4486951"/>
                  <a:pt x="3709176" y="4497800"/>
                </a:cubicBezTo>
                <a:cubicBezTo>
                  <a:pt x="3701303" y="4500105"/>
                  <a:pt x="3692757" y="4500393"/>
                  <a:pt x="3684981" y="4502889"/>
                </a:cubicBezTo>
                <a:cubicBezTo>
                  <a:pt x="3664337" y="4509610"/>
                  <a:pt x="3643789" y="4516907"/>
                  <a:pt x="3623338" y="4524300"/>
                </a:cubicBezTo>
                <a:cubicBezTo>
                  <a:pt x="3610953" y="4528813"/>
                  <a:pt x="3598854" y="4534382"/>
                  <a:pt x="3586373" y="4538702"/>
                </a:cubicBezTo>
                <a:cubicBezTo>
                  <a:pt x="3576387" y="4542159"/>
                  <a:pt x="3566113" y="4544847"/>
                  <a:pt x="3555743" y="4546960"/>
                </a:cubicBezTo>
                <a:cubicBezTo>
                  <a:pt x="3546814" y="4548785"/>
                  <a:pt x="3537501" y="4548592"/>
                  <a:pt x="3528667" y="4550801"/>
                </a:cubicBezTo>
                <a:cubicBezTo>
                  <a:pt x="3504759" y="4556753"/>
                  <a:pt x="3481140" y="4563475"/>
                  <a:pt x="3457424" y="4569811"/>
                </a:cubicBezTo>
                <a:cubicBezTo>
                  <a:pt x="3447919" y="4572308"/>
                  <a:pt x="3438221" y="4574133"/>
                  <a:pt x="3429003" y="4577301"/>
                </a:cubicBezTo>
                <a:cubicBezTo>
                  <a:pt x="3404327" y="4585654"/>
                  <a:pt x="3380036" y="4595159"/>
                  <a:pt x="3355264" y="4603033"/>
                </a:cubicBezTo>
                <a:cubicBezTo>
                  <a:pt x="3334717" y="4609562"/>
                  <a:pt x="3313593" y="4614266"/>
                  <a:pt x="3292757" y="4620027"/>
                </a:cubicBezTo>
                <a:cubicBezTo>
                  <a:pt x="3283924" y="4622524"/>
                  <a:pt x="3275475" y="4626077"/>
                  <a:pt x="3266643" y="4628188"/>
                </a:cubicBezTo>
                <a:cubicBezTo>
                  <a:pt x="3246863" y="4632990"/>
                  <a:pt x="3226796" y="4637022"/>
                  <a:pt x="3206921" y="4641823"/>
                </a:cubicBezTo>
                <a:cubicBezTo>
                  <a:pt x="3195590" y="4644607"/>
                  <a:pt x="3184645" y="4649600"/>
                  <a:pt x="3173123" y="4651425"/>
                </a:cubicBezTo>
                <a:cubicBezTo>
                  <a:pt x="3145759" y="4655745"/>
                  <a:pt x="3118203" y="4658817"/>
                  <a:pt x="3090646" y="4662274"/>
                </a:cubicBezTo>
                <a:cubicBezTo>
                  <a:pt x="3062227" y="4665826"/>
                  <a:pt x="3033902" y="4669571"/>
                  <a:pt x="3005480" y="4672739"/>
                </a:cubicBezTo>
                <a:cubicBezTo>
                  <a:pt x="2989926" y="4674372"/>
                  <a:pt x="2974275" y="4674660"/>
                  <a:pt x="2958721" y="4676196"/>
                </a:cubicBezTo>
                <a:cubicBezTo>
                  <a:pt x="2945087" y="4677541"/>
                  <a:pt x="2931549" y="4680037"/>
                  <a:pt x="2917915" y="4681670"/>
                </a:cubicBezTo>
                <a:cubicBezTo>
                  <a:pt x="2906105" y="4683013"/>
                  <a:pt x="2894199" y="4683781"/>
                  <a:pt x="2882389" y="4685126"/>
                </a:cubicBezTo>
                <a:cubicBezTo>
                  <a:pt x="2863475" y="4687334"/>
                  <a:pt x="2844655" y="4689831"/>
                  <a:pt x="2825837" y="4692135"/>
                </a:cubicBezTo>
                <a:cubicBezTo>
                  <a:pt x="2817964" y="4692999"/>
                  <a:pt x="2809706" y="4695399"/>
                  <a:pt x="2802313" y="4693960"/>
                </a:cubicBezTo>
                <a:cubicBezTo>
                  <a:pt x="2783686" y="4690310"/>
                  <a:pt x="2765347" y="4691367"/>
                  <a:pt x="2746816" y="4693863"/>
                </a:cubicBezTo>
                <a:cubicBezTo>
                  <a:pt x="2740479" y="4694728"/>
                  <a:pt x="2733662" y="4694535"/>
                  <a:pt x="2727517" y="4692903"/>
                </a:cubicBezTo>
                <a:cubicBezTo>
                  <a:pt x="2714939" y="4689638"/>
                  <a:pt x="2702745" y="4685029"/>
                  <a:pt x="2690359" y="4680997"/>
                </a:cubicBezTo>
                <a:cubicBezTo>
                  <a:pt x="2689014" y="4680517"/>
                  <a:pt x="2687382" y="4680421"/>
                  <a:pt x="2685943" y="4680133"/>
                </a:cubicBezTo>
                <a:cubicBezTo>
                  <a:pt x="2677781" y="4678500"/>
                  <a:pt x="2669717" y="4676868"/>
                  <a:pt x="2661554" y="4675428"/>
                </a:cubicBezTo>
                <a:cubicBezTo>
                  <a:pt x="2657138" y="4674660"/>
                  <a:pt x="2652625" y="4674564"/>
                  <a:pt x="2648208" y="4673892"/>
                </a:cubicBezTo>
                <a:cubicBezTo>
                  <a:pt x="2631118" y="4671203"/>
                  <a:pt x="2612299" y="4675716"/>
                  <a:pt x="2597512" y="4664099"/>
                </a:cubicBezTo>
                <a:cubicBezTo>
                  <a:pt x="2587911" y="4656609"/>
                  <a:pt x="2578597" y="4658338"/>
                  <a:pt x="2568324" y="4659490"/>
                </a:cubicBezTo>
                <a:cubicBezTo>
                  <a:pt x="2560547" y="4660354"/>
                  <a:pt x="2552577" y="4660065"/>
                  <a:pt x="2544704" y="4660162"/>
                </a:cubicBezTo>
                <a:cubicBezTo>
                  <a:pt x="2530878" y="4660449"/>
                  <a:pt x="2517052" y="4660546"/>
                  <a:pt x="2503225" y="4661026"/>
                </a:cubicBezTo>
                <a:cubicBezTo>
                  <a:pt x="2498808" y="4661218"/>
                  <a:pt x="2494297" y="4663619"/>
                  <a:pt x="2489975" y="4663235"/>
                </a:cubicBezTo>
                <a:cubicBezTo>
                  <a:pt x="2470004" y="4661410"/>
                  <a:pt x="2450033" y="4658529"/>
                  <a:pt x="2430061" y="4656897"/>
                </a:cubicBezTo>
                <a:cubicBezTo>
                  <a:pt x="2418732" y="4655938"/>
                  <a:pt x="2407114" y="4657761"/>
                  <a:pt x="2395880" y="4656417"/>
                </a:cubicBezTo>
                <a:cubicBezTo>
                  <a:pt x="2382919" y="4654881"/>
                  <a:pt x="2370245" y="4650945"/>
                  <a:pt x="2357378" y="4648544"/>
                </a:cubicBezTo>
                <a:cubicBezTo>
                  <a:pt x="2353826" y="4647872"/>
                  <a:pt x="2349889" y="4648736"/>
                  <a:pt x="2346145" y="4648928"/>
                </a:cubicBezTo>
                <a:cubicBezTo>
                  <a:pt x="2341920" y="4649120"/>
                  <a:pt x="2337791" y="4649504"/>
                  <a:pt x="2333567" y="4649600"/>
                </a:cubicBezTo>
                <a:cubicBezTo>
                  <a:pt x="2320700" y="4649793"/>
                  <a:pt x="2307835" y="4649504"/>
                  <a:pt x="2294968" y="4650177"/>
                </a:cubicBezTo>
                <a:cubicBezTo>
                  <a:pt x="2287095" y="4650561"/>
                  <a:pt x="2278839" y="4654497"/>
                  <a:pt x="2271540" y="4653057"/>
                </a:cubicBezTo>
                <a:cubicBezTo>
                  <a:pt x="2256659" y="4650272"/>
                  <a:pt x="2241776" y="4656513"/>
                  <a:pt x="2226895" y="4651329"/>
                </a:cubicBezTo>
                <a:cubicBezTo>
                  <a:pt x="2222285" y="4649793"/>
                  <a:pt x="2215948" y="4653633"/>
                  <a:pt x="2210379" y="4653825"/>
                </a:cubicBezTo>
                <a:cubicBezTo>
                  <a:pt x="2196457" y="4654305"/>
                  <a:pt x="2182535" y="4654209"/>
                  <a:pt x="2168613" y="4654113"/>
                </a:cubicBezTo>
                <a:cubicBezTo>
                  <a:pt x="2156131" y="4654017"/>
                  <a:pt x="2143168" y="4655361"/>
                  <a:pt x="2131167" y="4652673"/>
                </a:cubicBezTo>
                <a:cubicBezTo>
                  <a:pt x="2118588" y="4649793"/>
                  <a:pt x="2107259" y="4650177"/>
                  <a:pt x="2095065" y="4653441"/>
                </a:cubicBezTo>
                <a:cubicBezTo>
                  <a:pt x="2086711" y="4655649"/>
                  <a:pt x="2077878" y="4655938"/>
                  <a:pt x="2069237" y="4656609"/>
                </a:cubicBezTo>
                <a:cubicBezTo>
                  <a:pt x="2059924" y="4657377"/>
                  <a:pt x="2049650" y="4655361"/>
                  <a:pt x="2041201" y="4658529"/>
                </a:cubicBezTo>
                <a:cubicBezTo>
                  <a:pt x="2016044" y="4667939"/>
                  <a:pt x="1990216" y="4669955"/>
                  <a:pt x="1963909" y="4669955"/>
                </a:cubicBezTo>
                <a:cubicBezTo>
                  <a:pt x="1959107" y="4669955"/>
                  <a:pt x="1954210" y="4668612"/>
                  <a:pt x="1949603" y="4667171"/>
                </a:cubicBezTo>
                <a:cubicBezTo>
                  <a:pt x="1922717" y="4658529"/>
                  <a:pt x="1895737" y="4659297"/>
                  <a:pt x="1868373" y="4664578"/>
                </a:cubicBezTo>
                <a:cubicBezTo>
                  <a:pt x="1862708" y="4665731"/>
                  <a:pt x="1856372" y="4665923"/>
                  <a:pt x="1850707" y="4664771"/>
                </a:cubicBezTo>
                <a:cubicBezTo>
                  <a:pt x="1834768" y="4661410"/>
                  <a:pt x="1819309" y="4655841"/>
                  <a:pt x="1803275" y="4653441"/>
                </a:cubicBezTo>
                <a:cubicBezTo>
                  <a:pt x="1776775" y="4649504"/>
                  <a:pt x="1753828" y="4662754"/>
                  <a:pt x="1730112" y="4671396"/>
                </a:cubicBezTo>
                <a:cubicBezTo>
                  <a:pt x="1707548" y="4679557"/>
                  <a:pt x="1688345" y="4697992"/>
                  <a:pt x="1661652" y="4693863"/>
                </a:cubicBezTo>
                <a:cubicBezTo>
                  <a:pt x="1658965" y="4693479"/>
                  <a:pt x="1655988" y="4696071"/>
                  <a:pt x="1653011" y="4696744"/>
                </a:cubicBezTo>
                <a:cubicBezTo>
                  <a:pt x="1644850" y="4698568"/>
                  <a:pt x="1636689" y="4700776"/>
                  <a:pt x="1628431" y="4701641"/>
                </a:cubicBezTo>
                <a:cubicBezTo>
                  <a:pt x="1618350" y="4702793"/>
                  <a:pt x="1608076" y="4702409"/>
                  <a:pt x="1597995" y="4703369"/>
                </a:cubicBezTo>
                <a:cubicBezTo>
                  <a:pt x="1585032" y="4704521"/>
                  <a:pt x="1572263" y="4707593"/>
                  <a:pt x="1559396" y="4707593"/>
                </a:cubicBezTo>
                <a:cubicBezTo>
                  <a:pt x="1549026" y="4707593"/>
                  <a:pt x="1538753" y="4704041"/>
                  <a:pt x="1528480" y="4702312"/>
                </a:cubicBezTo>
                <a:cubicBezTo>
                  <a:pt x="1513981" y="4699912"/>
                  <a:pt x="1498042" y="4700584"/>
                  <a:pt x="1485272" y="4694439"/>
                </a:cubicBezTo>
                <a:cubicBezTo>
                  <a:pt x="1471639" y="4687910"/>
                  <a:pt x="1458676" y="4684934"/>
                  <a:pt x="1444562" y="4686950"/>
                </a:cubicBezTo>
                <a:cubicBezTo>
                  <a:pt x="1439857" y="4687622"/>
                  <a:pt x="1433808" y="4691655"/>
                  <a:pt x="1431696" y="4695783"/>
                </a:cubicBezTo>
                <a:cubicBezTo>
                  <a:pt x="1426991" y="4705001"/>
                  <a:pt x="1420559" y="4706634"/>
                  <a:pt x="1411821" y="4703464"/>
                </a:cubicBezTo>
                <a:cubicBezTo>
                  <a:pt x="1404236" y="4700776"/>
                  <a:pt x="1394922" y="4699432"/>
                  <a:pt x="1389738" y="4694247"/>
                </a:cubicBezTo>
                <a:cubicBezTo>
                  <a:pt x="1375047" y="4679557"/>
                  <a:pt x="1356324" y="4679077"/>
                  <a:pt x="1338081" y="4675141"/>
                </a:cubicBezTo>
                <a:cubicBezTo>
                  <a:pt x="1326945" y="4672739"/>
                  <a:pt x="1316574" y="4672644"/>
                  <a:pt x="1305436" y="4674276"/>
                </a:cubicBezTo>
                <a:cubicBezTo>
                  <a:pt x="1281241" y="4677925"/>
                  <a:pt x="1257717" y="4672739"/>
                  <a:pt x="1234481" y="4666115"/>
                </a:cubicBezTo>
                <a:cubicBezTo>
                  <a:pt x="1219118" y="4661698"/>
                  <a:pt x="1203372" y="4659010"/>
                  <a:pt x="1188106" y="4654497"/>
                </a:cubicBezTo>
                <a:cubicBezTo>
                  <a:pt x="1176680" y="4651041"/>
                  <a:pt x="1165255" y="4646912"/>
                  <a:pt x="1154790" y="4641343"/>
                </a:cubicBezTo>
                <a:cubicBezTo>
                  <a:pt x="1139618" y="4633181"/>
                  <a:pt x="1126369" y="4620891"/>
                  <a:pt x="1107069" y="4624156"/>
                </a:cubicBezTo>
                <a:cubicBezTo>
                  <a:pt x="1090074" y="4627036"/>
                  <a:pt x="1074713" y="4620988"/>
                  <a:pt x="1059158" y="4615227"/>
                </a:cubicBezTo>
                <a:cubicBezTo>
                  <a:pt x="1047732" y="4611002"/>
                  <a:pt x="1036308" y="4606681"/>
                  <a:pt x="1024496" y="4603993"/>
                </a:cubicBezTo>
                <a:cubicBezTo>
                  <a:pt x="1010478" y="4600824"/>
                  <a:pt x="994635" y="4602169"/>
                  <a:pt x="982153" y="4596311"/>
                </a:cubicBezTo>
                <a:cubicBezTo>
                  <a:pt x="969095" y="4590166"/>
                  <a:pt x="958246" y="4594295"/>
                  <a:pt x="946628" y="4596024"/>
                </a:cubicBezTo>
                <a:cubicBezTo>
                  <a:pt x="928097" y="4598712"/>
                  <a:pt x="909661" y="4603705"/>
                  <a:pt x="890939" y="4597368"/>
                </a:cubicBezTo>
                <a:cubicBezTo>
                  <a:pt x="868184" y="4589687"/>
                  <a:pt x="845620" y="4581430"/>
                  <a:pt x="822769" y="4574133"/>
                </a:cubicBezTo>
                <a:cubicBezTo>
                  <a:pt x="813934" y="4571347"/>
                  <a:pt x="804431" y="4570195"/>
                  <a:pt x="795212" y="4568947"/>
                </a:cubicBezTo>
                <a:cubicBezTo>
                  <a:pt x="786476" y="4567891"/>
                  <a:pt x="776010" y="4570579"/>
                  <a:pt x="769288" y="4566547"/>
                </a:cubicBezTo>
                <a:cubicBezTo>
                  <a:pt x="752005" y="4556178"/>
                  <a:pt x="734243" y="4551089"/>
                  <a:pt x="714271" y="4551089"/>
                </a:cubicBezTo>
                <a:cubicBezTo>
                  <a:pt x="706781" y="4551089"/>
                  <a:pt x="699484" y="4546768"/>
                  <a:pt x="691900" y="4545999"/>
                </a:cubicBezTo>
                <a:cubicBezTo>
                  <a:pt x="681529" y="4545040"/>
                  <a:pt x="669623" y="4542447"/>
                  <a:pt x="660598" y="4546096"/>
                </a:cubicBezTo>
                <a:cubicBezTo>
                  <a:pt x="639379" y="4554737"/>
                  <a:pt x="622193" y="4547536"/>
                  <a:pt x="603662" y="4538991"/>
                </a:cubicBezTo>
                <a:cubicBezTo>
                  <a:pt x="585418" y="4530541"/>
                  <a:pt x="566215" y="4523821"/>
                  <a:pt x="546821" y="4518251"/>
                </a:cubicBezTo>
                <a:cubicBezTo>
                  <a:pt x="539524" y="4516235"/>
                  <a:pt x="530787" y="4519596"/>
                  <a:pt x="522721" y="4520267"/>
                </a:cubicBezTo>
                <a:cubicBezTo>
                  <a:pt x="519840" y="4520460"/>
                  <a:pt x="516671" y="4520748"/>
                  <a:pt x="514080" y="4519788"/>
                </a:cubicBezTo>
                <a:cubicBezTo>
                  <a:pt x="489020" y="4510570"/>
                  <a:pt x="463575" y="4503561"/>
                  <a:pt x="436404" y="4508361"/>
                </a:cubicBezTo>
                <a:cubicBezTo>
                  <a:pt x="433908" y="4508842"/>
                  <a:pt x="431123" y="4507786"/>
                  <a:pt x="428626" y="4507114"/>
                </a:cubicBezTo>
                <a:cubicBezTo>
                  <a:pt x="416432" y="4503657"/>
                  <a:pt x="404526" y="4498184"/>
                  <a:pt x="392141" y="4496936"/>
                </a:cubicBezTo>
                <a:cubicBezTo>
                  <a:pt x="361608" y="4493864"/>
                  <a:pt x="330884" y="4492615"/>
                  <a:pt x="300157" y="4490599"/>
                </a:cubicBezTo>
                <a:cubicBezTo>
                  <a:pt x="298237" y="4490503"/>
                  <a:pt x="296221" y="4490503"/>
                  <a:pt x="294493" y="4489831"/>
                </a:cubicBezTo>
                <a:cubicBezTo>
                  <a:pt x="283163" y="4485702"/>
                  <a:pt x="273274" y="4487047"/>
                  <a:pt x="263671" y="4494919"/>
                </a:cubicBezTo>
                <a:cubicBezTo>
                  <a:pt x="259447" y="4498376"/>
                  <a:pt x="253686" y="4500200"/>
                  <a:pt x="248406" y="4502121"/>
                </a:cubicBezTo>
                <a:cubicBezTo>
                  <a:pt x="240628" y="4505002"/>
                  <a:pt x="232659" y="4507786"/>
                  <a:pt x="224594" y="4509610"/>
                </a:cubicBezTo>
                <a:cubicBezTo>
                  <a:pt x="216624" y="4511338"/>
                  <a:pt x="208079" y="4513738"/>
                  <a:pt x="200398" y="4512395"/>
                </a:cubicBezTo>
                <a:cubicBezTo>
                  <a:pt x="186572" y="4509994"/>
                  <a:pt x="173417" y="4504618"/>
                  <a:pt x="159783" y="4501064"/>
                </a:cubicBezTo>
                <a:cubicBezTo>
                  <a:pt x="155079" y="4499816"/>
                  <a:pt x="149893" y="4500009"/>
                  <a:pt x="144997" y="4499912"/>
                </a:cubicBezTo>
                <a:cubicBezTo>
                  <a:pt x="133763" y="4499625"/>
                  <a:pt x="122241" y="4502409"/>
                  <a:pt x="112064" y="4494440"/>
                </a:cubicBezTo>
                <a:cubicBezTo>
                  <a:pt x="102655" y="4486951"/>
                  <a:pt x="93148" y="4489158"/>
                  <a:pt x="83259" y="4494824"/>
                </a:cubicBezTo>
                <a:cubicBezTo>
                  <a:pt x="76154" y="4498857"/>
                  <a:pt x="68090" y="4502025"/>
                  <a:pt x="60120" y="4503561"/>
                </a:cubicBezTo>
                <a:cubicBezTo>
                  <a:pt x="49174" y="4505673"/>
                  <a:pt x="38324" y="4506538"/>
                  <a:pt x="26514" y="4505289"/>
                </a:cubicBezTo>
                <a:cubicBezTo>
                  <a:pt x="18161" y="4504425"/>
                  <a:pt x="11343" y="4504041"/>
                  <a:pt x="4814" y="4498952"/>
                </a:cubicBezTo>
                <a:cubicBezTo>
                  <a:pt x="3759" y="4498184"/>
                  <a:pt x="1839" y="4497992"/>
                  <a:pt x="398" y="4498089"/>
                </a:cubicBezTo>
                <a:lnTo>
                  <a:pt x="0" y="4498087"/>
                </a:lnTo>
                <a:close/>
              </a:path>
            </a:pathLst>
          </a:custGeom>
          <a:effectLst>
            <a:outerShdw blurRad="381000" dist="152400" dir="5400000" algn="t" rotWithShape="0">
              <a:prstClr val="black">
                <a:alpha val="10000"/>
              </a:prstClr>
            </a:outerShdw>
          </a:effectLst>
        </p:spPr>
      </p:pic>
      <p:sp>
        <p:nvSpPr>
          <p:cNvPr id="11" name="Freeform: Shape 10">
            <a:extLst>
              <a:ext uri="{FF2B5EF4-FFF2-40B4-BE49-F238E27FC236}">
                <a16:creationId xmlns:a16="http://schemas.microsoft.com/office/drawing/2014/main" id="{686A5CBB-E03B-4019-8BCD-78975D39E48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4138312"/>
            <a:ext cx="5260975" cy="1410656"/>
          </a:xfrm>
          <a:custGeom>
            <a:avLst/>
            <a:gdLst>
              <a:gd name="connsiteX0" fmla="*/ 5260975 w 5260975"/>
              <a:gd name="connsiteY0" fmla="*/ 0 h 1410656"/>
              <a:gd name="connsiteX1" fmla="*/ 5260975 w 5260975"/>
              <a:gd name="connsiteY1" fmla="*/ 221634 h 1410656"/>
              <a:gd name="connsiteX2" fmla="*/ 5226503 w 5260975"/>
              <a:gd name="connsiteY2" fmla="*/ 237063 h 1410656"/>
              <a:gd name="connsiteX3" fmla="*/ 5206341 w 5260975"/>
              <a:gd name="connsiteY3" fmla="*/ 245128 h 1410656"/>
              <a:gd name="connsiteX4" fmla="*/ 5123287 w 5260975"/>
              <a:gd name="connsiteY4" fmla="*/ 297073 h 1410656"/>
              <a:gd name="connsiteX5" fmla="*/ 5048107 w 5260975"/>
              <a:gd name="connsiteY5" fmla="*/ 361307 h 1410656"/>
              <a:gd name="connsiteX6" fmla="*/ 4992899 w 5260975"/>
              <a:gd name="connsiteY6" fmla="*/ 437542 h 1410656"/>
              <a:gd name="connsiteX7" fmla="*/ 4977440 w 5260975"/>
              <a:gd name="connsiteY7" fmla="*/ 455690 h 1410656"/>
              <a:gd name="connsiteX8" fmla="*/ 4935193 w 5260975"/>
              <a:gd name="connsiteY8" fmla="*/ 478445 h 1410656"/>
              <a:gd name="connsiteX9" fmla="*/ 4897844 w 5260975"/>
              <a:gd name="connsiteY9" fmla="*/ 495535 h 1410656"/>
              <a:gd name="connsiteX10" fmla="*/ 4870767 w 5260975"/>
              <a:gd name="connsiteY10" fmla="*/ 514451 h 1410656"/>
              <a:gd name="connsiteX11" fmla="*/ 4847916 w 5260975"/>
              <a:gd name="connsiteY11" fmla="*/ 531830 h 1410656"/>
              <a:gd name="connsiteX12" fmla="*/ 4796163 w 5260975"/>
              <a:gd name="connsiteY12" fmla="*/ 576765 h 1410656"/>
              <a:gd name="connsiteX13" fmla="*/ 4738843 w 5260975"/>
              <a:gd name="connsiteY13" fmla="*/ 614691 h 1410656"/>
              <a:gd name="connsiteX14" fmla="*/ 4692755 w 5260975"/>
              <a:gd name="connsiteY14" fmla="*/ 661162 h 1410656"/>
              <a:gd name="connsiteX15" fmla="*/ 4673744 w 5260975"/>
              <a:gd name="connsiteY15" fmla="*/ 686318 h 1410656"/>
              <a:gd name="connsiteX16" fmla="*/ 4633801 w 5260975"/>
              <a:gd name="connsiteY16" fmla="*/ 703505 h 1410656"/>
              <a:gd name="connsiteX17" fmla="*/ 4590499 w 5260975"/>
              <a:gd name="connsiteY17" fmla="*/ 730389 h 1410656"/>
              <a:gd name="connsiteX18" fmla="*/ 4559773 w 5260975"/>
              <a:gd name="connsiteY18" fmla="*/ 757081 h 1410656"/>
              <a:gd name="connsiteX19" fmla="*/ 4536059 w 5260975"/>
              <a:gd name="connsiteY19" fmla="*/ 774940 h 1410656"/>
              <a:gd name="connsiteX20" fmla="*/ 4502549 w 5260975"/>
              <a:gd name="connsiteY20" fmla="*/ 792895 h 1410656"/>
              <a:gd name="connsiteX21" fmla="*/ 4468944 w 5260975"/>
              <a:gd name="connsiteY21" fmla="*/ 816419 h 1410656"/>
              <a:gd name="connsiteX22" fmla="*/ 4452622 w 5260975"/>
              <a:gd name="connsiteY22" fmla="*/ 830917 h 1410656"/>
              <a:gd name="connsiteX23" fmla="*/ 4421032 w 5260975"/>
              <a:gd name="connsiteY23" fmla="*/ 855016 h 1410656"/>
              <a:gd name="connsiteX24" fmla="*/ 4388483 w 5260975"/>
              <a:gd name="connsiteY24" fmla="*/ 877484 h 1410656"/>
              <a:gd name="connsiteX25" fmla="*/ 4327321 w 5260975"/>
              <a:gd name="connsiteY25" fmla="*/ 903216 h 1410656"/>
              <a:gd name="connsiteX26" fmla="*/ 4271633 w 5260975"/>
              <a:gd name="connsiteY26" fmla="*/ 941046 h 1410656"/>
              <a:gd name="connsiteX27" fmla="*/ 4227465 w 5260975"/>
              <a:gd name="connsiteY27" fmla="*/ 968698 h 1410656"/>
              <a:gd name="connsiteX28" fmla="*/ 4201733 w 5260975"/>
              <a:gd name="connsiteY28" fmla="*/ 986846 h 1410656"/>
              <a:gd name="connsiteX29" fmla="*/ 4154494 w 5260975"/>
              <a:gd name="connsiteY29" fmla="*/ 1027364 h 1410656"/>
              <a:gd name="connsiteX30" fmla="*/ 4081234 w 5260975"/>
              <a:gd name="connsiteY30" fmla="*/ 1069994 h 1410656"/>
              <a:gd name="connsiteX31" fmla="*/ 4036971 w 5260975"/>
              <a:gd name="connsiteY31" fmla="*/ 1093038 h 1410656"/>
              <a:gd name="connsiteX32" fmla="*/ 3941725 w 5260975"/>
              <a:gd name="connsiteY32" fmla="*/ 1127796 h 1410656"/>
              <a:gd name="connsiteX33" fmla="*/ 3910999 w 5260975"/>
              <a:gd name="connsiteY33" fmla="*/ 1140182 h 1410656"/>
              <a:gd name="connsiteX34" fmla="*/ 3875859 w 5260975"/>
              <a:gd name="connsiteY34" fmla="*/ 1148343 h 1410656"/>
              <a:gd name="connsiteX35" fmla="*/ 3819401 w 5260975"/>
              <a:gd name="connsiteY35" fmla="*/ 1167642 h 1410656"/>
              <a:gd name="connsiteX36" fmla="*/ 3709176 w 5260975"/>
              <a:gd name="connsiteY36" fmla="*/ 1200863 h 1410656"/>
              <a:gd name="connsiteX37" fmla="*/ 3684981 w 5260975"/>
              <a:gd name="connsiteY37" fmla="*/ 1205952 h 1410656"/>
              <a:gd name="connsiteX38" fmla="*/ 3623338 w 5260975"/>
              <a:gd name="connsiteY38" fmla="*/ 1227363 h 1410656"/>
              <a:gd name="connsiteX39" fmla="*/ 3586373 w 5260975"/>
              <a:gd name="connsiteY39" fmla="*/ 1241765 h 1410656"/>
              <a:gd name="connsiteX40" fmla="*/ 3555743 w 5260975"/>
              <a:gd name="connsiteY40" fmla="*/ 1250023 h 1410656"/>
              <a:gd name="connsiteX41" fmla="*/ 3528667 w 5260975"/>
              <a:gd name="connsiteY41" fmla="*/ 1253864 h 1410656"/>
              <a:gd name="connsiteX42" fmla="*/ 3457424 w 5260975"/>
              <a:gd name="connsiteY42" fmla="*/ 1272874 h 1410656"/>
              <a:gd name="connsiteX43" fmla="*/ 3429003 w 5260975"/>
              <a:gd name="connsiteY43" fmla="*/ 1280364 h 1410656"/>
              <a:gd name="connsiteX44" fmla="*/ 3355264 w 5260975"/>
              <a:gd name="connsiteY44" fmla="*/ 1306096 h 1410656"/>
              <a:gd name="connsiteX45" fmla="*/ 3292757 w 5260975"/>
              <a:gd name="connsiteY45" fmla="*/ 1323090 h 1410656"/>
              <a:gd name="connsiteX46" fmla="*/ 3266643 w 5260975"/>
              <a:gd name="connsiteY46" fmla="*/ 1331251 h 1410656"/>
              <a:gd name="connsiteX47" fmla="*/ 3206921 w 5260975"/>
              <a:gd name="connsiteY47" fmla="*/ 1344886 h 1410656"/>
              <a:gd name="connsiteX48" fmla="*/ 3173123 w 5260975"/>
              <a:gd name="connsiteY48" fmla="*/ 1354488 h 1410656"/>
              <a:gd name="connsiteX49" fmla="*/ 3090646 w 5260975"/>
              <a:gd name="connsiteY49" fmla="*/ 1365337 h 1410656"/>
              <a:gd name="connsiteX50" fmla="*/ 3005480 w 5260975"/>
              <a:gd name="connsiteY50" fmla="*/ 1375802 h 1410656"/>
              <a:gd name="connsiteX51" fmla="*/ 2958721 w 5260975"/>
              <a:gd name="connsiteY51" fmla="*/ 1379259 h 1410656"/>
              <a:gd name="connsiteX52" fmla="*/ 2917915 w 5260975"/>
              <a:gd name="connsiteY52" fmla="*/ 1384733 h 1410656"/>
              <a:gd name="connsiteX53" fmla="*/ 2882389 w 5260975"/>
              <a:gd name="connsiteY53" fmla="*/ 1388189 h 1410656"/>
              <a:gd name="connsiteX54" fmla="*/ 2825837 w 5260975"/>
              <a:gd name="connsiteY54" fmla="*/ 1395198 h 1410656"/>
              <a:gd name="connsiteX55" fmla="*/ 2802313 w 5260975"/>
              <a:gd name="connsiteY55" fmla="*/ 1397023 h 1410656"/>
              <a:gd name="connsiteX56" fmla="*/ 2746816 w 5260975"/>
              <a:gd name="connsiteY56" fmla="*/ 1396926 h 1410656"/>
              <a:gd name="connsiteX57" fmla="*/ 2727517 w 5260975"/>
              <a:gd name="connsiteY57" fmla="*/ 1395966 h 1410656"/>
              <a:gd name="connsiteX58" fmla="*/ 2690359 w 5260975"/>
              <a:gd name="connsiteY58" fmla="*/ 1384060 h 1410656"/>
              <a:gd name="connsiteX59" fmla="*/ 2685943 w 5260975"/>
              <a:gd name="connsiteY59" fmla="*/ 1383196 h 1410656"/>
              <a:gd name="connsiteX60" fmla="*/ 2661554 w 5260975"/>
              <a:gd name="connsiteY60" fmla="*/ 1378491 h 1410656"/>
              <a:gd name="connsiteX61" fmla="*/ 2648208 w 5260975"/>
              <a:gd name="connsiteY61" fmla="*/ 1376955 h 1410656"/>
              <a:gd name="connsiteX62" fmla="*/ 2597512 w 5260975"/>
              <a:gd name="connsiteY62" fmla="*/ 1367162 h 1410656"/>
              <a:gd name="connsiteX63" fmla="*/ 2568324 w 5260975"/>
              <a:gd name="connsiteY63" fmla="*/ 1362553 h 1410656"/>
              <a:gd name="connsiteX64" fmla="*/ 2544704 w 5260975"/>
              <a:gd name="connsiteY64" fmla="*/ 1363225 h 1410656"/>
              <a:gd name="connsiteX65" fmla="*/ 2503225 w 5260975"/>
              <a:gd name="connsiteY65" fmla="*/ 1364089 h 1410656"/>
              <a:gd name="connsiteX66" fmla="*/ 2489975 w 5260975"/>
              <a:gd name="connsiteY66" fmla="*/ 1366298 h 1410656"/>
              <a:gd name="connsiteX67" fmla="*/ 2430061 w 5260975"/>
              <a:gd name="connsiteY67" fmla="*/ 1359960 h 1410656"/>
              <a:gd name="connsiteX68" fmla="*/ 2395880 w 5260975"/>
              <a:gd name="connsiteY68" fmla="*/ 1359480 h 1410656"/>
              <a:gd name="connsiteX69" fmla="*/ 2357378 w 5260975"/>
              <a:gd name="connsiteY69" fmla="*/ 1351607 h 1410656"/>
              <a:gd name="connsiteX70" fmla="*/ 2346145 w 5260975"/>
              <a:gd name="connsiteY70" fmla="*/ 1351991 h 1410656"/>
              <a:gd name="connsiteX71" fmla="*/ 2333567 w 5260975"/>
              <a:gd name="connsiteY71" fmla="*/ 1352663 h 1410656"/>
              <a:gd name="connsiteX72" fmla="*/ 2294968 w 5260975"/>
              <a:gd name="connsiteY72" fmla="*/ 1353240 h 1410656"/>
              <a:gd name="connsiteX73" fmla="*/ 2271540 w 5260975"/>
              <a:gd name="connsiteY73" fmla="*/ 1356120 h 1410656"/>
              <a:gd name="connsiteX74" fmla="*/ 2226895 w 5260975"/>
              <a:gd name="connsiteY74" fmla="*/ 1354392 h 1410656"/>
              <a:gd name="connsiteX75" fmla="*/ 2210379 w 5260975"/>
              <a:gd name="connsiteY75" fmla="*/ 1356888 h 1410656"/>
              <a:gd name="connsiteX76" fmla="*/ 2168613 w 5260975"/>
              <a:gd name="connsiteY76" fmla="*/ 1357176 h 1410656"/>
              <a:gd name="connsiteX77" fmla="*/ 2131167 w 5260975"/>
              <a:gd name="connsiteY77" fmla="*/ 1355736 h 1410656"/>
              <a:gd name="connsiteX78" fmla="*/ 2095065 w 5260975"/>
              <a:gd name="connsiteY78" fmla="*/ 1356504 h 1410656"/>
              <a:gd name="connsiteX79" fmla="*/ 2069237 w 5260975"/>
              <a:gd name="connsiteY79" fmla="*/ 1359672 h 1410656"/>
              <a:gd name="connsiteX80" fmla="*/ 2041201 w 5260975"/>
              <a:gd name="connsiteY80" fmla="*/ 1361592 h 1410656"/>
              <a:gd name="connsiteX81" fmla="*/ 1963909 w 5260975"/>
              <a:gd name="connsiteY81" fmla="*/ 1373018 h 1410656"/>
              <a:gd name="connsiteX82" fmla="*/ 1949603 w 5260975"/>
              <a:gd name="connsiteY82" fmla="*/ 1370234 h 1410656"/>
              <a:gd name="connsiteX83" fmla="*/ 1868373 w 5260975"/>
              <a:gd name="connsiteY83" fmla="*/ 1367641 h 1410656"/>
              <a:gd name="connsiteX84" fmla="*/ 1850707 w 5260975"/>
              <a:gd name="connsiteY84" fmla="*/ 1367834 h 1410656"/>
              <a:gd name="connsiteX85" fmla="*/ 1803275 w 5260975"/>
              <a:gd name="connsiteY85" fmla="*/ 1356504 h 1410656"/>
              <a:gd name="connsiteX86" fmla="*/ 1730112 w 5260975"/>
              <a:gd name="connsiteY86" fmla="*/ 1374459 h 1410656"/>
              <a:gd name="connsiteX87" fmla="*/ 1661652 w 5260975"/>
              <a:gd name="connsiteY87" fmla="*/ 1396926 h 1410656"/>
              <a:gd name="connsiteX88" fmla="*/ 1653011 w 5260975"/>
              <a:gd name="connsiteY88" fmla="*/ 1399807 h 1410656"/>
              <a:gd name="connsiteX89" fmla="*/ 1628431 w 5260975"/>
              <a:gd name="connsiteY89" fmla="*/ 1404704 h 1410656"/>
              <a:gd name="connsiteX90" fmla="*/ 1597995 w 5260975"/>
              <a:gd name="connsiteY90" fmla="*/ 1406432 h 1410656"/>
              <a:gd name="connsiteX91" fmla="*/ 1559396 w 5260975"/>
              <a:gd name="connsiteY91" fmla="*/ 1410656 h 1410656"/>
              <a:gd name="connsiteX92" fmla="*/ 1528480 w 5260975"/>
              <a:gd name="connsiteY92" fmla="*/ 1405375 h 1410656"/>
              <a:gd name="connsiteX93" fmla="*/ 1485272 w 5260975"/>
              <a:gd name="connsiteY93" fmla="*/ 1397502 h 1410656"/>
              <a:gd name="connsiteX94" fmla="*/ 1444562 w 5260975"/>
              <a:gd name="connsiteY94" fmla="*/ 1390013 h 1410656"/>
              <a:gd name="connsiteX95" fmla="*/ 1431696 w 5260975"/>
              <a:gd name="connsiteY95" fmla="*/ 1398846 h 1410656"/>
              <a:gd name="connsiteX96" fmla="*/ 1411821 w 5260975"/>
              <a:gd name="connsiteY96" fmla="*/ 1406527 h 1410656"/>
              <a:gd name="connsiteX97" fmla="*/ 1389738 w 5260975"/>
              <a:gd name="connsiteY97" fmla="*/ 1397310 h 1410656"/>
              <a:gd name="connsiteX98" fmla="*/ 1338081 w 5260975"/>
              <a:gd name="connsiteY98" fmla="*/ 1378204 h 1410656"/>
              <a:gd name="connsiteX99" fmla="*/ 1305436 w 5260975"/>
              <a:gd name="connsiteY99" fmla="*/ 1377339 h 1410656"/>
              <a:gd name="connsiteX100" fmla="*/ 1234481 w 5260975"/>
              <a:gd name="connsiteY100" fmla="*/ 1369178 h 1410656"/>
              <a:gd name="connsiteX101" fmla="*/ 1188106 w 5260975"/>
              <a:gd name="connsiteY101" fmla="*/ 1357560 h 1410656"/>
              <a:gd name="connsiteX102" fmla="*/ 1154790 w 5260975"/>
              <a:gd name="connsiteY102" fmla="*/ 1344406 h 1410656"/>
              <a:gd name="connsiteX103" fmla="*/ 1107069 w 5260975"/>
              <a:gd name="connsiteY103" fmla="*/ 1327219 h 1410656"/>
              <a:gd name="connsiteX104" fmla="*/ 1059158 w 5260975"/>
              <a:gd name="connsiteY104" fmla="*/ 1318290 h 1410656"/>
              <a:gd name="connsiteX105" fmla="*/ 1024496 w 5260975"/>
              <a:gd name="connsiteY105" fmla="*/ 1307056 h 1410656"/>
              <a:gd name="connsiteX106" fmla="*/ 982153 w 5260975"/>
              <a:gd name="connsiteY106" fmla="*/ 1299374 h 1410656"/>
              <a:gd name="connsiteX107" fmla="*/ 946628 w 5260975"/>
              <a:gd name="connsiteY107" fmla="*/ 1299087 h 1410656"/>
              <a:gd name="connsiteX108" fmla="*/ 890939 w 5260975"/>
              <a:gd name="connsiteY108" fmla="*/ 1300431 h 1410656"/>
              <a:gd name="connsiteX109" fmla="*/ 822769 w 5260975"/>
              <a:gd name="connsiteY109" fmla="*/ 1277196 h 1410656"/>
              <a:gd name="connsiteX110" fmla="*/ 795212 w 5260975"/>
              <a:gd name="connsiteY110" fmla="*/ 1272010 h 1410656"/>
              <a:gd name="connsiteX111" fmla="*/ 769288 w 5260975"/>
              <a:gd name="connsiteY111" fmla="*/ 1269610 h 1410656"/>
              <a:gd name="connsiteX112" fmla="*/ 714271 w 5260975"/>
              <a:gd name="connsiteY112" fmla="*/ 1254152 h 1410656"/>
              <a:gd name="connsiteX113" fmla="*/ 691900 w 5260975"/>
              <a:gd name="connsiteY113" fmla="*/ 1249062 h 1410656"/>
              <a:gd name="connsiteX114" fmla="*/ 660598 w 5260975"/>
              <a:gd name="connsiteY114" fmla="*/ 1249159 h 1410656"/>
              <a:gd name="connsiteX115" fmla="*/ 603662 w 5260975"/>
              <a:gd name="connsiteY115" fmla="*/ 1242054 h 1410656"/>
              <a:gd name="connsiteX116" fmla="*/ 546821 w 5260975"/>
              <a:gd name="connsiteY116" fmla="*/ 1221314 h 1410656"/>
              <a:gd name="connsiteX117" fmla="*/ 522721 w 5260975"/>
              <a:gd name="connsiteY117" fmla="*/ 1223330 h 1410656"/>
              <a:gd name="connsiteX118" fmla="*/ 514080 w 5260975"/>
              <a:gd name="connsiteY118" fmla="*/ 1222851 h 1410656"/>
              <a:gd name="connsiteX119" fmla="*/ 436404 w 5260975"/>
              <a:gd name="connsiteY119" fmla="*/ 1211424 h 1410656"/>
              <a:gd name="connsiteX120" fmla="*/ 428626 w 5260975"/>
              <a:gd name="connsiteY120" fmla="*/ 1210177 h 1410656"/>
              <a:gd name="connsiteX121" fmla="*/ 392141 w 5260975"/>
              <a:gd name="connsiteY121" fmla="*/ 1199999 h 1410656"/>
              <a:gd name="connsiteX122" fmla="*/ 300157 w 5260975"/>
              <a:gd name="connsiteY122" fmla="*/ 1193662 h 1410656"/>
              <a:gd name="connsiteX123" fmla="*/ 294493 w 5260975"/>
              <a:gd name="connsiteY123" fmla="*/ 1192894 h 1410656"/>
              <a:gd name="connsiteX124" fmla="*/ 263671 w 5260975"/>
              <a:gd name="connsiteY124" fmla="*/ 1197982 h 1410656"/>
              <a:gd name="connsiteX125" fmla="*/ 248406 w 5260975"/>
              <a:gd name="connsiteY125" fmla="*/ 1205184 h 1410656"/>
              <a:gd name="connsiteX126" fmla="*/ 224594 w 5260975"/>
              <a:gd name="connsiteY126" fmla="*/ 1212673 h 1410656"/>
              <a:gd name="connsiteX127" fmla="*/ 200398 w 5260975"/>
              <a:gd name="connsiteY127" fmla="*/ 1215458 h 1410656"/>
              <a:gd name="connsiteX128" fmla="*/ 159783 w 5260975"/>
              <a:gd name="connsiteY128" fmla="*/ 1204127 h 1410656"/>
              <a:gd name="connsiteX129" fmla="*/ 144997 w 5260975"/>
              <a:gd name="connsiteY129" fmla="*/ 1202975 h 1410656"/>
              <a:gd name="connsiteX130" fmla="*/ 112064 w 5260975"/>
              <a:gd name="connsiteY130" fmla="*/ 1197503 h 1410656"/>
              <a:gd name="connsiteX131" fmla="*/ 83259 w 5260975"/>
              <a:gd name="connsiteY131" fmla="*/ 1197887 h 1410656"/>
              <a:gd name="connsiteX132" fmla="*/ 60120 w 5260975"/>
              <a:gd name="connsiteY132" fmla="*/ 1206624 h 1410656"/>
              <a:gd name="connsiteX133" fmla="*/ 26514 w 5260975"/>
              <a:gd name="connsiteY133" fmla="*/ 1208352 h 1410656"/>
              <a:gd name="connsiteX134" fmla="*/ 4814 w 5260975"/>
              <a:gd name="connsiteY134" fmla="*/ 1202015 h 1410656"/>
              <a:gd name="connsiteX135" fmla="*/ 398 w 5260975"/>
              <a:gd name="connsiteY135" fmla="*/ 1201152 h 1410656"/>
              <a:gd name="connsiteX136" fmla="*/ 0 w 5260975"/>
              <a:gd name="connsiteY136" fmla="*/ 1201150 h 1410656"/>
              <a:gd name="connsiteX137" fmla="*/ 0 w 5260975"/>
              <a:gd name="connsiteY137" fmla="*/ 1004512 h 1410656"/>
              <a:gd name="connsiteX138" fmla="*/ 30355 w 5260975"/>
              <a:gd name="connsiteY138" fmla="*/ 1002784 h 1410656"/>
              <a:gd name="connsiteX139" fmla="*/ 52151 w 5260975"/>
              <a:gd name="connsiteY139" fmla="*/ 997695 h 1410656"/>
              <a:gd name="connsiteX140" fmla="*/ 64248 w 5260975"/>
              <a:gd name="connsiteY140" fmla="*/ 994430 h 1410656"/>
              <a:gd name="connsiteX141" fmla="*/ 126370 w 5260975"/>
              <a:gd name="connsiteY141" fmla="*/ 985405 h 1410656"/>
              <a:gd name="connsiteX142" fmla="*/ 154022 w 5260975"/>
              <a:gd name="connsiteY142" fmla="*/ 975708 h 1410656"/>
              <a:gd name="connsiteX143" fmla="*/ 161512 w 5260975"/>
              <a:gd name="connsiteY143" fmla="*/ 974268 h 1410656"/>
              <a:gd name="connsiteX144" fmla="*/ 202510 w 5260975"/>
              <a:gd name="connsiteY144" fmla="*/ 978300 h 1410656"/>
              <a:gd name="connsiteX145" fmla="*/ 233235 w 5260975"/>
              <a:gd name="connsiteY145" fmla="*/ 993950 h 1410656"/>
              <a:gd name="connsiteX146" fmla="*/ 239188 w 5260975"/>
              <a:gd name="connsiteY146" fmla="*/ 999231 h 1410656"/>
              <a:gd name="connsiteX147" fmla="*/ 324834 w 5260975"/>
              <a:gd name="connsiteY147" fmla="*/ 997407 h 1410656"/>
              <a:gd name="connsiteX148" fmla="*/ 337987 w 5260975"/>
              <a:gd name="connsiteY148" fmla="*/ 995198 h 1410656"/>
              <a:gd name="connsiteX149" fmla="*/ 401550 w 5260975"/>
              <a:gd name="connsiteY149" fmla="*/ 1004416 h 1410656"/>
              <a:gd name="connsiteX150" fmla="*/ 420081 w 5260975"/>
              <a:gd name="connsiteY150" fmla="*/ 1006240 h 1410656"/>
              <a:gd name="connsiteX151" fmla="*/ 486523 w 5260975"/>
              <a:gd name="connsiteY151" fmla="*/ 1014498 h 1410656"/>
              <a:gd name="connsiteX152" fmla="*/ 495932 w 5260975"/>
              <a:gd name="connsiteY152" fmla="*/ 1006817 h 1410656"/>
              <a:gd name="connsiteX153" fmla="*/ 523009 w 5260975"/>
              <a:gd name="connsiteY153" fmla="*/ 987517 h 1410656"/>
              <a:gd name="connsiteX154" fmla="*/ 576393 w 5260975"/>
              <a:gd name="connsiteY154" fmla="*/ 970427 h 1410656"/>
              <a:gd name="connsiteX155" fmla="*/ 590892 w 5260975"/>
              <a:gd name="connsiteY155" fmla="*/ 971387 h 1410656"/>
              <a:gd name="connsiteX156" fmla="*/ 627569 w 5260975"/>
              <a:gd name="connsiteY156" fmla="*/ 999904 h 1410656"/>
              <a:gd name="connsiteX157" fmla="*/ 645429 w 5260975"/>
              <a:gd name="connsiteY157" fmla="*/ 1011329 h 1410656"/>
              <a:gd name="connsiteX158" fmla="*/ 696125 w 5260975"/>
              <a:gd name="connsiteY158" fmla="*/ 1032356 h 1410656"/>
              <a:gd name="connsiteX159" fmla="*/ 700349 w 5260975"/>
              <a:gd name="connsiteY159" fmla="*/ 1036197 h 1410656"/>
              <a:gd name="connsiteX160" fmla="*/ 737795 w 5260975"/>
              <a:gd name="connsiteY160" fmla="*/ 1081804 h 1410656"/>
              <a:gd name="connsiteX161" fmla="*/ 746244 w 5260975"/>
              <a:gd name="connsiteY161" fmla="*/ 1089581 h 1410656"/>
              <a:gd name="connsiteX162" fmla="*/ 756422 w 5260975"/>
              <a:gd name="connsiteY162" fmla="*/ 1101680 h 1410656"/>
              <a:gd name="connsiteX163" fmla="*/ 788202 w 5260975"/>
              <a:gd name="connsiteY163" fmla="*/ 1125108 h 1410656"/>
              <a:gd name="connsiteX164" fmla="*/ 827569 w 5260975"/>
              <a:gd name="connsiteY164" fmla="*/ 1132596 h 1410656"/>
              <a:gd name="connsiteX165" fmla="*/ 875097 w 5260975"/>
              <a:gd name="connsiteY165" fmla="*/ 1144022 h 1410656"/>
              <a:gd name="connsiteX166" fmla="*/ 894972 w 5260975"/>
              <a:gd name="connsiteY166" fmla="*/ 1151704 h 1410656"/>
              <a:gd name="connsiteX167" fmla="*/ 948260 w 5260975"/>
              <a:gd name="connsiteY167" fmla="*/ 1166298 h 1410656"/>
              <a:gd name="connsiteX168" fmla="*/ 986282 w 5260975"/>
              <a:gd name="connsiteY168" fmla="*/ 1178588 h 1410656"/>
              <a:gd name="connsiteX169" fmla="*/ 1041107 w 5260975"/>
              <a:gd name="connsiteY169" fmla="*/ 1185789 h 1410656"/>
              <a:gd name="connsiteX170" fmla="*/ 1067703 w 5260975"/>
              <a:gd name="connsiteY170" fmla="*/ 1186076 h 1410656"/>
              <a:gd name="connsiteX171" fmla="*/ 1116574 w 5260975"/>
              <a:gd name="connsiteY171" fmla="*/ 1222946 h 1410656"/>
              <a:gd name="connsiteX172" fmla="*/ 1155557 w 5260975"/>
              <a:gd name="connsiteY172" fmla="*/ 1247335 h 1410656"/>
              <a:gd name="connsiteX173" fmla="*/ 1196556 w 5260975"/>
              <a:gd name="connsiteY173" fmla="*/ 1235525 h 1410656"/>
              <a:gd name="connsiteX174" fmla="*/ 1207693 w 5260975"/>
              <a:gd name="connsiteY174" fmla="*/ 1224387 h 1410656"/>
              <a:gd name="connsiteX175" fmla="*/ 1274904 w 5260975"/>
              <a:gd name="connsiteY175" fmla="*/ 1213826 h 1410656"/>
              <a:gd name="connsiteX176" fmla="*/ 1370919 w 5260975"/>
              <a:gd name="connsiteY176" fmla="*/ 1213442 h 1410656"/>
              <a:gd name="connsiteX177" fmla="*/ 1530593 w 5260975"/>
              <a:gd name="connsiteY177" fmla="*/ 1189437 h 1410656"/>
              <a:gd name="connsiteX178" fmla="*/ 1558436 w 5260975"/>
              <a:gd name="connsiteY178" fmla="*/ 1178299 h 1410656"/>
              <a:gd name="connsiteX179" fmla="*/ 1589737 w 5260975"/>
              <a:gd name="connsiteY179" fmla="*/ 1175515 h 1410656"/>
              <a:gd name="connsiteX180" fmla="*/ 1601740 w 5260975"/>
              <a:gd name="connsiteY180" fmla="*/ 1182333 h 1410656"/>
              <a:gd name="connsiteX181" fmla="*/ 1654259 w 5260975"/>
              <a:gd name="connsiteY181" fmla="*/ 1192510 h 1410656"/>
              <a:gd name="connsiteX182" fmla="*/ 1664246 w 5260975"/>
              <a:gd name="connsiteY182" fmla="*/ 1192702 h 1410656"/>
              <a:gd name="connsiteX183" fmla="*/ 1698427 w 5260975"/>
              <a:gd name="connsiteY183" fmla="*/ 1188381 h 1410656"/>
              <a:gd name="connsiteX184" fmla="*/ 1730112 w 5260975"/>
              <a:gd name="connsiteY184" fmla="*/ 1185885 h 1410656"/>
              <a:gd name="connsiteX185" fmla="*/ 1809996 w 5260975"/>
              <a:gd name="connsiteY185" fmla="*/ 1194046 h 1410656"/>
              <a:gd name="connsiteX186" fmla="*/ 1871254 w 5260975"/>
              <a:gd name="connsiteY186" fmla="*/ 1192126 h 1410656"/>
              <a:gd name="connsiteX187" fmla="*/ 1899482 w 5260975"/>
              <a:gd name="connsiteY187" fmla="*/ 1194046 h 1410656"/>
              <a:gd name="connsiteX188" fmla="*/ 1915420 w 5260975"/>
              <a:gd name="connsiteY188" fmla="*/ 1196927 h 1410656"/>
              <a:gd name="connsiteX189" fmla="*/ 1951522 w 5260975"/>
              <a:gd name="connsiteY189" fmla="*/ 1216994 h 1410656"/>
              <a:gd name="connsiteX190" fmla="*/ 1971302 w 5260975"/>
              <a:gd name="connsiteY190" fmla="*/ 1221507 h 1410656"/>
              <a:gd name="connsiteX191" fmla="*/ 2030831 w 5260975"/>
              <a:gd name="connsiteY191" fmla="*/ 1221123 h 1410656"/>
              <a:gd name="connsiteX192" fmla="*/ 2120125 w 5260975"/>
              <a:gd name="connsiteY192" fmla="*/ 1190878 h 1410656"/>
              <a:gd name="connsiteX193" fmla="*/ 2129439 w 5260975"/>
              <a:gd name="connsiteY193" fmla="*/ 1186845 h 1410656"/>
              <a:gd name="connsiteX194" fmla="*/ 2174854 w 5260975"/>
              <a:gd name="connsiteY194" fmla="*/ 1181852 h 1410656"/>
              <a:gd name="connsiteX195" fmla="*/ 2205674 w 5260975"/>
              <a:gd name="connsiteY195" fmla="*/ 1188669 h 1410656"/>
              <a:gd name="connsiteX196" fmla="*/ 2247634 w 5260975"/>
              <a:gd name="connsiteY196" fmla="*/ 1202784 h 1410656"/>
              <a:gd name="connsiteX197" fmla="*/ 2285367 w 5260975"/>
              <a:gd name="connsiteY197" fmla="*/ 1214594 h 1410656"/>
              <a:gd name="connsiteX198" fmla="*/ 2312827 w 5260975"/>
              <a:gd name="connsiteY198" fmla="*/ 1227939 h 1410656"/>
              <a:gd name="connsiteX199" fmla="*/ 2375622 w 5260975"/>
              <a:gd name="connsiteY199" fmla="*/ 1237733 h 1410656"/>
              <a:gd name="connsiteX200" fmla="*/ 2382151 w 5260975"/>
              <a:gd name="connsiteY200" fmla="*/ 1239365 h 1410656"/>
              <a:gd name="connsiteX201" fmla="*/ 2429390 w 5260975"/>
              <a:gd name="connsiteY201" fmla="*/ 1227459 h 1410656"/>
              <a:gd name="connsiteX202" fmla="*/ 2486134 w 5260975"/>
              <a:gd name="connsiteY202" fmla="*/ 1215362 h 1410656"/>
              <a:gd name="connsiteX203" fmla="*/ 2506394 w 5260975"/>
              <a:gd name="connsiteY203" fmla="*/ 1219490 h 1410656"/>
              <a:gd name="connsiteX204" fmla="*/ 2534142 w 5260975"/>
              <a:gd name="connsiteY204" fmla="*/ 1225347 h 1410656"/>
              <a:gd name="connsiteX205" fmla="*/ 2559874 w 5260975"/>
              <a:gd name="connsiteY205" fmla="*/ 1222275 h 1410656"/>
              <a:gd name="connsiteX206" fmla="*/ 2575525 w 5260975"/>
              <a:gd name="connsiteY206" fmla="*/ 1221987 h 1410656"/>
              <a:gd name="connsiteX207" fmla="*/ 2646960 w 5260975"/>
              <a:gd name="connsiteY207" fmla="*/ 1257896 h 1410656"/>
              <a:gd name="connsiteX208" fmla="*/ 2665107 w 5260975"/>
              <a:gd name="connsiteY208" fmla="*/ 1260873 h 1410656"/>
              <a:gd name="connsiteX209" fmla="*/ 2675381 w 5260975"/>
              <a:gd name="connsiteY209" fmla="*/ 1265290 h 1410656"/>
              <a:gd name="connsiteX210" fmla="*/ 2737311 w 5260975"/>
              <a:gd name="connsiteY210" fmla="*/ 1309841 h 1410656"/>
              <a:gd name="connsiteX211" fmla="*/ 2763619 w 5260975"/>
              <a:gd name="connsiteY211" fmla="*/ 1318866 h 1410656"/>
              <a:gd name="connsiteX212" fmla="*/ 2792519 w 5260975"/>
              <a:gd name="connsiteY212" fmla="*/ 1317041 h 1410656"/>
              <a:gd name="connsiteX213" fmla="*/ 2809226 w 5260975"/>
              <a:gd name="connsiteY213" fmla="*/ 1313777 h 1410656"/>
              <a:gd name="connsiteX214" fmla="*/ 2850705 w 5260975"/>
              <a:gd name="connsiteY214" fmla="*/ 1285452 h 1410656"/>
              <a:gd name="connsiteX215" fmla="*/ 2874324 w 5260975"/>
              <a:gd name="connsiteY215" fmla="*/ 1286413 h 1410656"/>
              <a:gd name="connsiteX216" fmla="*/ 2911194 w 5260975"/>
              <a:gd name="connsiteY216" fmla="*/ 1305903 h 1410656"/>
              <a:gd name="connsiteX217" fmla="*/ 2978116 w 5260975"/>
              <a:gd name="connsiteY217" fmla="*/ 1314641 h 1410656"/>
              <a:gd name="connsiteX218" fmla="*/ 3012106 w 5260975"/>
              <a:gd name="connsiteY218" fmla="*/ 1287373 h 1410656"/>
              <a:gd name="connsiteX219" fmla="*/ 3029676 w 5260975"/>
              <a:gd name="connsiteY219" fmla="*/ 1261161 h 1410656"/>
              <a:gd name="connsiteX220" fmla="*/ 3080469 w 5260975"/>
              <a:gd name="connsiteY220" fmla="*/ 1230724 h 1410656"/>
              <a:gd name="connsiteX221" fmla="*/ 3092567 w 5260975"/>
              <a:gd name="connsiteY221" fmla="*/ 1242054 h 1410656"/>
              <a:gd name="connsiteX222" fmla="*/ 3129821 w 5260975"/>
              <a:gd name="connsiteY222" fmla="*/ 1246855 h 1410656"/>
              <a:gd name="connsiteX223" fmla="*/ 3170147 w 5260975"/>
              <a:gd name="connsiteY223" fmla="*/ 1246471 h 1410656"/>
              <a:gd name="connsiteX224" fmla="*/ 3240429 w 5260975"/>
              <a:gd name="connsiteY224" fmla="*/ 1251559 h 1410656"/>
              <a:gd name="connsiteX225" fmla="*/ 3287189 w 5260975"/>
              <a:gd name="connsiteY225" fmla="*/ 1222466 h 1410656"/>
              <a:gd name="connsiteX226" fmla="*/ 3305049 w 5260975"/>
              <a:gd name="connsiteY226" fmla="*/ 1210465 h 1410656"/>
              <a:gd name="connsiteX227" fmla="*/ 3321755 w 5260975"/>
              <a:gd name="connsiteY227" fmla="*/ 1202784 h 1410656"/>
              <a:gd name="connsiteX228" fmla="*/ 3341055 w 5260975"/>
              <a:gd name="connsiteY228" fmla="*/ 1198463 h 1410656"/>
              <a:gd name="connsiteX229" fmla="*/ 3387621 w 5260975"/>
              <a:gd name="connsiteY229" fmla="*/ 1182140 h 1410656"/>
              <a:gd name="connsiteX230" fmla="*/ 3413161 w 5260975"/>
              <a:gd name="connsiteY230" fmla="*/ 1166105 h 1410656"/>
              <a:gd name="connsiteX231" fmla="*/ 3470579 w 5260975"/>
              <a:gd name="connsiteY231" fmla="*/ 1150647 h 1410656"/>
              <a:gd name="connsiteX232" fmla="*/ 3509657 w 5260975"/>
              <a:gd name="connsiteY232" fmla="*/ 1136821 h 1410656"/>
              <a:gd name="connsiteX233" fmla="*/ 3550847 w 5260975"/>
              <a:gd name="connsiteY233" fmla="*/ 1113009 h 1410656"/>
              <a:gd name="connsiteX234" fmla="*/ 3556608 w 5260975"/>
              <a:gd name="connsiteY234" fmla="*/ 1109361 h 1410656"/>
              <a:gd name="connsiteX235" fmla="*/ 3570435 w 5260975"/>
              <a:gd name="connsiteY235" fmla="*/ 1093710 h 1410656"/>
              <a:gd name="connsiteX236" fmla="*/ 3590501 w 5260975"/>
              <a:gd name="connsiteY236" fmla="*/ 1039846 h 1410656"/>
              <a:gd name="connsiteX237" fmla="*/ 3596263 w 5260975"/>
              <a:gd name="connsiteY237" fmla="*/ 1028900 h 1410656"/>
              <a:gd name="connsiteX238" fmla="*/ 3648591 w 5260975"/>
              <a:gd name="connsiteY238" fmla="*/ 992030 h 1410656"/>
              <a:gd name="connsiteX239" fmla="*/ 3667986 w 5260975"/>
              <a:gd name="connsiteY239" fmla="*/ 995487 h 1410656"/>
              <a:gd name="connsiteX240" fmla="*/ 3689397 w 5260975"/>
              <a:gd name="connsiteY240" fmla="*/ 1007585 h 1410656"/>
              <a:gd name="connsiteX241" fmla="*/ 3736349 w 5260975"/>
              <a:gd name="connsiteY241" fmla="*/ 1010753 h 1410656"/>
              <a:gd name="connsiteX242" fmla="*/ 3753919 w 5260975"/>
              <a:gd name="connsiteY242" fmla="*/ 1004513 h 1410656"/>
              <a:gd name="connsiteX243" fmla="*/ 3784643 w 5260975"/>
              <a:gd name="connsiteY243" fmla="*/ 987710 h 1410656"/>
              <a:gd name="connsiteX244" fmla="*/ 3808359 w 5260975"/>
              <a:gd name="connsiteY244" fmla="*/ 961689 h 1410656"/>
              <a:gd name="connsiteX245" fmla="*/ 3842829 w 5260975"/>
              <a:gd name="connsiteY245" fmla="*/ 918674 h 1410656"/>
              <a:gd name="connsiteX246" fmla="*/ 3908983 w 5260975"/>
              <a:gd name="connsiteY246" fmla="*/ 902256 h 1410656"/>
              <a:gd name="connsiteX247" fmla="*/ 3934428 w 5260975"/>
              <a:gd name="connsiteY247" fmla="*/ 896783 h 1410656"/>
              <a:gd name="connsiteX248" fmla="*/ 4026987 w 5260975"/>
              <a:gd name="connsiteY248" fmla="*/ 873835 h 1410656"/>
              <a:gd name="connsiteX249" fmla="*/ 4035051 w 5260975"/>
              <a:gd name="connsiteY249" fmla="*/ 873067 h 1410656"/>
              <a:gd name="connsiteX250" fmla="*/ 4099189 w 5260975"/>
              <a:gd name="connsiteY250" fmla="*/ 846664 h 1410656"/>
              <a:gd name="connsiteX251" fmla="*/ 4114647 w 5260975"/>
              <a:gd name="connsiteY251" fmla="*/ 840134 h 1410656"/>
              <a:gd name="connsiteX252" fmla="*/ 4133563 w 5260975"/>
              <a:gd name="connsiteY252" fmla="*/ 823427 h 1410656"/>
              <a:gd name="connsiteX253" fmla="*/ 4151039 w 5260975"/>
              <a:gd name="connsiteY253" fmla="*/ 776284 h 1410656"/>
              <a:gd name="connsiteX254" fmla="*/ 4171489 w 5260975"/>
              <a:gd name="connsiteY254" fmla="*/ 754776 h 1410656"/>
              <a:gd name="connsiteX255" fmla="*/ 4186372 w 5260975"/>
              <a:gd name="connsiteY255" fmla="*/ 741718 h 1410656"/>
              <a:gd name="connsiteX256" fmla="*/ 4199429 w 5260975"/>
              <a:gd name="connsiteY256" fmla="*/ 721940 h 1410656"/>
              <a:gd name="connsiteX257" fmla="*/ 4212487 w 5260975"/>
              <a:gd name="connsiteY257" fmla="*/ 674604 h 1410656"/>
              <a:gd name="connsiteX258" fmla="*/ 4232555 w 5260975"/>
              <a:gd name="connsiteY258" fmla="*/ 632645 h 1410656"/>
              <a:gd name="connsiteX259" fmla="*/ 4268657 w 5260975"/>
              <a:gd name="connsiteY259" fmla="*/ 609410 h 1410656"/>
              <a:gd name="connsiteX260" fmla="*/ 4291028 w 5260975"/>
              <a:gd name="connsiteY260" fmla="*/ 597216 h 1410656"/>
              <a:gd name="connsiteX261" fmla="*/ 4379651 w 5260975"/>
              <a:gd name="connsiteY261" fmla="*/ 609506 h 1410656"/>
              <a:gd name="connsiteX262" fmla="*/ 4440139 w 5260975"/>
              <a:gd name="connsiteY262" fmla="*/ 621507 h 1410656"/>
              <a:gd name="connsiteX263" fmla="*/ 4460015 w 5260975"/>
              <a:gd name="connsiteY263" fmla="*/ 616899 h 1410656"/>
              <a:gd name="connsiteX264" fmla="*/ 4516183 w 5260975"/>
              <a:gd name="connsiteY264" fmla="*/ 577724 h 1410656"/>
              <a:gd name="connsiteX265" fmla="*/ 4571681 w 5260975"/>
              <a:gd name="connsiteY265" fmla="*/ 560250 h 1410656"/>
              <a:gd name="connsiteX266" fmla="*/ 4613447 w 5260975"/>
              <a:gd name="connsiteY266" fmla="*/ 555257 h 1410656"/>
              <a:gd name="connsiteX267" fmla="*/ 4649355 w 5260975"/>
              <a:gd name="connsiteY267" fmla="*/ 551417 h 1410656"/>
              <a:gd name="connsiteX268" fmla="*/ 4692467 w 5260975"/>
              <a:gd name="connsiteY268" fmla="*/ 540663 h 1410656"/>
              <a:gd name="connsiteX269" fmla="*/ 4716855 w 5260975"/>
              <a:gd name="connsiteY269" fmla="*/ 528949 h 1410656"/>
              <a:gd name="connsiteX270" fmla="*/ 4755645 w 5260975"/>
              <a:gd name="connsiteY270" fmla="*/ 512147 h 1410656"/>
              <a:gd name="connsiteX271" fmla="*/ 4795395 w 5260975"/>
              <a:gd name="connsiteY271" fmla="*/ 490351 h 1410656"/>
              <a:gd name="connsiteX272" fmla="*/ 4825928 w 5260975"/>
              <a:gd name="connsiteY272" fmla="*/ 459818 h 1410656"/>
              <a:gd name="connsiteX273" fmla="*/ 4842347 w 5260975"/>
              <a:gd name="connsiteY273" fmla="*/ 434086 h 1410656"/>
              <a:gd name="connsiteX274" fmla="*/ 4890451 w 5260975"/>
              <a:gd name="connsiteY274" fmla="*/ 397216 h 1410656"/>
              <a:gd name="connsiteX275" fmla="*/ 4933945 w 5260975"/>
              <a:gd name="connsiteY275" fmla="*/ 327701 h 1410656"/>
              <a:gd name="connsiteX276" fmla="*/ 4961214 w 5260975"/>
              <a:gd name="connsiteY276" fmla="*/ 298801 h 1410656"/>
              <a:gd name="connsiteX277" fmla="*/ 4976672 w 5260975"/>
              <a:gd name="connsiteY277" fmla="*/ 290639 h 1410656"/>
              <a:gd name="connsiteX278" fmla="*/ 5002979 w 5260975"/>
              <a:gd name="connsiteY278" fmla="*/ 270573 h 1410656"/>
              <a:gd name="connsiteX279" fmla="*/ 5018535 w 5260975"/>
              <a:gd name="connsiteY279" fmla="*/ 255690 h 1410656"/>
              <a:gd name="connsiteX280" fmla="*/ 5061069 w 5260975"/>
              <a:gd name="connsiteY280" fmla="*/ 200961 h 1410656"/>
              <a:gd name="connsiteX281" fmla="*/ 5074127 w 5260975"/>
              <a:gd name="connsiteY281" fmla="*/ 184735 h 1410656"/>
              <a:gd name="connsiteX282" fmla="*/ 5101108 w 5260975"/>
              <a:gd name="connsiteY282" fmla="*/ 156891 h 1410656"/>
              <a:gd name="connsiteX283" fmla="*/ 5112918 w 5260975"/>
              <a:gd name="connsiteY283" fmla="*/ 148441 h 1410656"/>
              <a:gd name="connsiteX284" fmla="*/ 5133753 w 5260975"/>
              <a:gd name="connsiteY284" fmla="*/ 125782 h 1410656"/>
              <a:gd name="connsiteX285" fmla="*/ 5183393 w 5260975"/>
              <a:gd name="connsiteY285" fmla="*/ 66348 h 1410656"/>
              <a:gd name="connsiteX286" fmla="*/ 5204709 w 5260975"/>
              <a:gd name="connsiteY286" fmla="*/ 33030 h 1410656"/>
              <a:gd name="connsiteX287" fmla="*/ 5247243 w 5260975"/>
              <a:gd name="connsiteY287" fmla="*/ 8451 h 141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5260975" h="1410656">
                <a:moveTo>
                  <a:pt x="5260975" y="0"/>
                </a:moveTo>
                <a:lnTo>
                  <a:pt x="5260975" y="221634"/>
                </a:lnTo>
                <a:lnTo>
                  <a:pt x="5226503" y="237063"/>
                </a:lnTo>
                <a:cubicBezTo>
                  <a:pt x="5219783" y="239848"/>
                  <a:pt x="5212389" y="241384"/>
                  <a:pt x="5206341" y="245128"/>
                </a:cubicBezTo>
                <a:cubicBezTo>
                  <a:pt x="5178495" y="262219"/>
                  <a:pt x="5151515" y="280654"/>
                  <a:pt x="5123287" y="297073"/>
                </a:cubicBezTo>
                <a:cubicBezTo>
                  <a:pt x="5094195" y="314067"/>
                  <a:pt x="5068175" y="334134"/>
                  <a:pt x="5048107" y="361307"/>
                </a:cubicBezTo>
                <a:cubicBezTo>
                  <a:pt x="5029480" y="386559"/>
                  <a:pt x="5011429" y="412194"/>
                  <a:pt x="4992899" y="437542"/>
                </a:cubicBezTo>
                <a:cubicBezTo>
                  <a:pt x="4988194" y="443975"/>
                  <a:pt x="4983873" y="451561"/>
                  <a:pt x="4977440" y="455690"/>
                </a:cubicBezTo>
                <a:cubicBezTo>
                  <a:pt x="4964094" y="464331"/>
                  <a:pt x="4949499" y="471340"/>
                  <a:pt x="4935193" y="478445"/>
                </a:cubicBezTo>
                <a:cubicBezTo>
                  <a:pt x="4922903" y="484494"/>
                  <a:pt x="4909845" y="489006"/>
                  <a:pt x="4897844" y="495535"/>
                </a:cubicBezTo>
                <a:cubicBezTo>
                  <a:pt x="4888243" y="500721"/>
                  <a:pt x="4879697" y="507922"/>
                  <a:pt x="4870767" y="514451"/>
                </a:cubicBezTo>
                <a:cubicBezTo>
                  <a:pt x="4862990" y="520115"/>
                  <a:pt x="4854445" y="525012"/>
                  <a:pt x="4847916" y="531830"/>
                </a:cubicBezTo>
                <a:cubicBezTo>
                  <a:pt x="4831977" y="548344"/>
                  <a:pt x="4815942" y="564571"/>
                  <a:pt x="4796163" y="576765"/>
                </a:cubicBezTo>
                <a:cubicBezTo>
                  <a:pt x="4776672" y="588862"/>
                  <a:pt x="4758237" y="602401"/>
                  <a:pt x="4738843" y="614691"/>
                </a:cubicBezTo>
                <a:cubicBezTo>
                  <a:pt x="4719831" y="626693"/>
                  <a:pt x="4702645" y="639846"/>
                  <a:pt x="4692755" y="661162"/>
                </a:cubicBezTo>
                <a:cubicBezTo>
                  <a:pt x="4688339" y="670571"/>
                  <a:pt x="4682097" y="680845"/>
                  <a:pt x="4673744" y="686318"/>
                </a:cubicBezTo>
                <a:cubicBezTo>
                  <a:pt x="4661838" y="694095"/>
                  <a:pt x="4646764" y="696880"/>
                  <a:pt x="4633801" y="703505"/>
                </a:cubicBezTo>
                <a:cubicBezTo>
                  <a:pt x="4618535" y="711282"/>
                  <a:pt x="4600869" y="718003"/>
                  <a:pt x="4590499" y="730389"/>
                </a:cubicBezTo>
                <a:cubicBezTo>
                  <a:pt x="4581281" y="741431"/>
                  <a:pt x="4571968" y="750072"/>
                  <a:pt x="4559773" y="757081"/>
                </a:cubicBezTo>
                <a:cubicBezTo>
                  <a:pt x="4551229" y="761978"/>
                  <a:pt x="4544892" y="770907"/>
                  <a:pt x="4536059" y="774940"/>
                </a:cubicBezTo>
                <a:cubicBezTo>
                  <a:pt x="4524441" y="780317"/>
                  <a:pt x="4512727" y="784542"/>
                  <a:pt x="4502549" y="792895"/>
                </a:cubicBezTo>
                <a:cubicBezTo>
                  <a:pt x="4491987" y="801536"/>
                  <a:pt x="4479986" y="808353"/>
                  <a:pt x="4468944" y="816419"/>
                </a:cubicBezTo>
                <a:cubicBezTo>
                  <a:pt x="4463087" y="820739"/>
                  <a:pt x="4458286" y="826404"/>
                  <a:pt x="4452622" y="830917"/>
                </a:cubicBezTo>
                <a:cubicBezTo>
                  <a:pt x="4442252" y="839174"/>
                  <a:pt x="4431690" y="847239"/>
                  <a:pt x="4421032" y="855016"/>
                </a:cubicBezTo>
                <a:cubicBezTo>
                  <a:pt x="4410375" y="862794"/>
                  <a:pt x="4400197" y="871819"/>
                  <a:pt x="4388483" y="877484"/>
                </a:cubicBezTo>
                <a:cubicBezTo>
                  <a:pt x="4368513" y="887086"/>
                  <a:pt x="4346717" y="892847"/>
                  <a:pt x="4327321" y="903216"/>
                </a:cubicBezTo>
                <a:cubicBezTo>
                  <a:pt x="4307639" y="913777"/>
                  <a:pt x="4289107" y="927028"/>
                  <a:pt x="4271633" y="941046"/>
                </a:cubicBezTo>
                <a:cubicBezTo>
                  <a:pt x="4257807" y="952088"/>
                  <a:pt x="4244845" y="963034"/>
                  <a:pt x="4227465" y="968698"/>
                </a:cubicBezTo>
                <a:cubicBezTo>
                  <a:pt x="4217768" y="971867"/>
                  <a:pt x="4207591" y="978780"/>
                  <a:pt x="4201733" y="986846"/>
                </a:cubicBezTo>
                <a:cubicBezTo>
                  <a:pt x="4189059" y="1004416"/>
                  <a:pt x="4172833" y="1016802"/>
                  <a:pt x="4154494" y="1027364"/>
                </a:cubicBezTo>
                <a:cubicBezTo>
                  <a:pt x="4130010" y="1041574"/>
                  <a:pt x="4105814" y="1056072"/>
                  <a:pt x="4081234" y="1069994"/>
                </a:cubicBezTo>
                <a:cubicBezTo>
                  <a:pt x="4066737" y="1078252"/>
                  <a:pt x="4052335" y="1086989"/>
                  <a:pt x="4036971" y="1093038"/>
                </a:cubicBezTo>
                <a:cubicBezTo>
                  <a:pt x="4005575" y="1105520"/>
                  <a:pt x="3973410" y="1116177"/>
                  <a:pt x="3941725" y="1127796"/>
                </a:cubicBezTo>
                <a:cubicBezTo>
                  <a:pt x="3931355" y="1131540"/>
                  <a:pt x="3921561" y="1136917"/>
                  <a:pt x="3910999" y="1140182"/>
                </a:cubicBezTo>
                <a:cubicBezTo>
                  <a:pt x="3899573" y="1143734"/>
                  <a:pt x="3887285" y="1144790"/>
                  <a:pt x="3875859" y="1148343"/>
                </a:cubicBezTo>
                <a:cubicBezTo>
                  <a:pt x="3856847" y="1154199"/>
                  <a:pt x="3838412" y="1161689"/>
                  <a:pt x="3819401" y="1167642"/>
                </a:cubicBezTo>
                <a:cubicBezTo>
                  <a:pt x="3782723" y="1179068"/>
                  <a:pt x="3745949" y="1190014"/>
                  <a:pt x="3709176" y="1200863"/>
                </a:cubicBezTo>
                <a:cubicBezTo>
                  <a:pt x="3701303" y="1203168"/>
                  <a:pt x="3692757" y="1203456"/>
                  <a:pt x="3684981" y="1205952"/>
                </a:cubicBezTo>
                <a:cubicBezTo>
                  <a:pt x="3664337" y="1212673"/>
                  <a:pt x="3643789" y="1219970"/>
                  <a:pt x="3623338" y="1227363"/>
                </a:cubicBezTo>
                <a:cubicBezTo>
                  <a:pt x="3610953" y="1231876"/>
                  <a:pt x="3598854" y="1237445"/>
                  <a:pt x="3586373" y="1241765"/>
                </a:cubicBezTo>
                <a:cubicBezTo>
                  <a:pt x="3576387" y="1245222"/>
                  <a:pt x="3566113" y="1247910"/>
                  <a:pt x="3555743" y="1250023"/>
                </a:cubicBezTo>
                <a:cubicBezTo>
                  <a:pt x="3546814" y="1251848"/>
                  <a:pt x="3537501" y="1251655"/>
                  <a:pt x="3528667" y="1253864"/>
                </a:cubicBezTo>
                <a:cubicBezTo>
                  <a:pt x="3504759" y="1259816"/>
                  <a:pt x="3481140" y="1266538"/>
                  <a:pt x="3457424" y="1272874"/>
                </a:cubicBezTo>
                <a:cubicBezTo>
                  <a:pt x="3447919" y="1275371"/>
                  <a:pt x="3438221" y="1277196"/>
                  <a:pt x="3429003" y="1280364"/>
                </a:cubicBezTo>
                <a:cubicBezTo>
                  <a:pt x="3404327" y="1288717"/>
                  <a:pt x="3380036" y="1298222"/>
                  <a:pt x="3355264" y="1306096"/>
                </a:cubicBezTo>
                <a:cubicBezTo>
                  <a:pt x="3334717" y="1312625"/>
                  <a:pt x="3313593" y="1317329"/>
                  <a:pt x="3292757" y="1323090"/>
                </a:cubicBezTo>
                <a:cubicBezTo>
                  <a:pt x="3283924" y="1325587"/>
                  <a:pt x="3275475" y="1329140"/>
                  <a:pt x="3266643" y="1331251"/>
                </a:cubicBezTo>
                <a:cubicBezTo>
                  <a:pt x="3246863" y="1336053"/>
                  <a:pt x="3226796" y="1340085"/>
                  <a:pt x="3206921" y="1344886"/>
                </a:cubicBezTo>
                <a:cubicBezTo>
                  <a:pt x="3195590" y="1347670"/>
                  <a:pt x="3184645" y="1352663"/>
                  <a:pt x="3173123" y="1354488"/>
                </a:cubicBezTo>
                <a:cubicBezTo>
                  <a:pt x="3145759" y="1358808"/>
                  <a:pt x="3118203" y="1361880"/>
                  <a:pt x="3090646" y="1365337"/>
                </a:cubicBezTo>
                <a:cubicBezTo>
                  <a:pt x="3062227" y="1368889"/>
                  <a:pt x="3033902" y="1372634"/>
                  <a:pt x="3005480" y="1375802"/>
                </a:cubicBezTo>
                <a:cubicBezTo>
                  <a:pt x="2989926" y="1377435"/>
                  <a:pt x="2974275" y="1377723"/>
                  <a:pt x="2958721" y="1379259"/>
                </a:cubicBezTo>
                <a:cubicBezTo>
                  <a:pt x="2945087" y="1380604"/>
                  <a:pt x="2931549" y="1383100"/>
                  <a:pt x="2917915" y="1384733"/>
                </a:cubicBezTo>
                <a:cubicBezTo>
                  <a:pt x="2906105" y="1386076"/>
                  <a:pt x="2894199" y="1386844"/>
                  <a:pt x="2882389" y="1388189"/>
                </a:cubicBezTo>
                <a:cubicBezTo>
                  <a:pt x="2863475" y="1390397"/>
                  <a:pt x="2844655" y="1392894"/>
                  <a:pt x="2825837" y="1395198"/>
                </a:cubicBezTo>
                <a:cubicBezTo>
                  <a:pt x="2817964" y="1396062"/>
                  <a:pt x="2809706" y="1398462"/>
                  <a:pt x="2802313" y="1397023"/>
                </a:cubicBezTo>
                <a:cubicBezTo>
                  <a:pt x="2783686" y="1393373"/>
                  <a:pt x="2765347" y="1394430"/>
                  <a:pt x="2746816" y="1396926"/>
                </a:cubicBezTo>
                <a:cubicBezTo>
                  <a:pt x="2740479" y="1397791"/>
                  <a:pt x="2733662" y="1397598"/>
                  <a:pt x="2727517" y="1395966"/>
                </a:cubicBezTo>
                <a:cubicBezTo>
                  <a:pt x="2714939" y="1392701"/>
                  <a:pt x="2702745" y="1388092"/>
                  <a:pt x="2690359" y="1384060"/>
                </a:cubicBezTo>
                <a:cubicBezTo>
                  <a:pt x="2689014" y="1383580"/>
                  <a:pt x="2687382" y="1383484"/>
                  <a:pt x="2685943" y="1383196"/>
                </a:cubicBezTo>
                <a:cubicBezTo>
                  <a:pt x="2677781" y="1381563"/>
                  <a:pt x="2669717" y="1379931"/>
                  <a:pt x="2661554" y="1378491"/>
                </a:cubicBezTo>
                <a:cubicBezTo>
                  <a:pt x="2657138" y="1377723"/>
                  <a:pt x="2652625" y="1377627"/>
                  <a:pt x="2648208" y="1376955"/>
                </a:cubicBezTo>
                <a:cubicBezTo>
                  <a:pt x="2631118" y="1374266"/>
                  <a:pt x="2612299" y="1378779"/>
                  <a:pt x="2597512" y="1367162"/>
                </a:cubicBezTo>
                <a:cubicBezTo>
                  <a:pt x="2587911" y="1359672"/>
                  <a:pt x="2578597" y="1361401"/>
                  <a:pt x="2568324" y="1362553"/>
                </a:cubicBezTo>
                <a:cubicBezTo>
                  <a:pt x="2560547" y="1363417"/>
                  <a:pt x="2552577" y="1363128"/>
                  <a:pt x="2544704" y="1363225"/>
                </a:cubicBezTo>
                <a:cubicBezTo>
                  <a:pt x="2530878" y="1363512"/>
                  <a:pt x="2517052" y="1363609"/>
                  <a:pt x="2503225" y="1364089"/>
                </a:cubicBezTo>
                <a:cubicBezTo>
                  <a:pt x="2498808" y="1364281"/>
                  <a:pt x="2494297" y="1366682"/>
                  <a:pt x="2489975" y="1366298"/>
                </a:cubicBezTo>
                <a:cubicBezTo>
                  <a:pt x="2470004" y="1364473"/>
                  <a:pt x="2450033" y="1361592"/>
                  <a:pt x="2430061" y="1359960"/>
                </a:cubicBezTo>
                <a:cubicBezTo>
                  <a:pt x="2418732" y="1359001"/>
                  <a:pt x="2407114" y="1360824"/>
                  <a:pt x="2395880" y="1359480"/>
                </a:cubicBezTo>
                <a:cubicBezTo>
                  <a:pt x="2382919" y="1357944"/>
                  <a:pt x="2370245" y="1354008"/>
                  <a:pt x="2357378" y="1351607"/>
                </a:cubicBezTo>
                <a:cubicBezTo>
                  <a:pt x="2353826" y="1350935"/>
                  <a:pt x="2349889" y="1351799"/>
                  <a:pt x="2346145" y="1351991"/>
                </a:cubicBezTo>
                <a:cubicBezTo>
                  <a:pt x="2341920" y="1352183"/>
                  <a:pt x="2337791" y="1352567"/>
                  <a:pt x="2333567" y="1352663"/>
                </a:cubicBezTo>
                <a:cubicBezTo>
                  <a:pt x="2320700" y="1352856"/>
                  <a:pt x="2307835" y="1352567"/>
                  <a:pt x="2294968" y="1353240"/>
                </a:cubicBezTo>
                <a:cubicBezTo>
                  <a:pt x="2287095" y="1353624"/>
                  <a:pt x="2278839" y="1357560"/>
                  <a:pt x="2271540" y="1356120"/>
                </a:cubicBezTo>
                <a:cubicBezTo>
                  <a:pt x="2256659" y="1353335"/>
                  <a:pt x="2241776" y="1359576"/>
                  <a:pt x="2226895" y="1354392"/>
                </a:cubicBezTo>
                <a:cubicBezTo>
                  <a:pt x="2222285" y="1352856"/>
                  <a:pt x="2215948" y="1356696"/>
                  <a:pt x="2210379" y="1356888"/>
                </a:cubicBezTo>
                <a:cubicBezTo>
                  <a:pt x="2196457" y="1357368"/>
                  <a:pt x="2182535" y="1357272"/>
                  <a:pt x="2168613" y="1357176"/>
                </a:cubicBezTo>
                <a:cubicBezTo>
                  <a:pt x="2156131" y="1357080"/>
                  <a:pt x="2143168" y="1358424"/>
                  <a:pt x="2131167" y="1355736"/>
                </a:cubicBezTo>
                <a:cubicBezTo>
                  <a:pt x="2118588" y="1352856"/>
                  <a:pt x="2107259" y="1353240"/>
                  <a:pt x="2095065" y="1356504"/>
                </a:cubicBezTo>
                <a:cubicBezTo>
                  <a:pt x="2086711" y="1358712"/>
                  <a:pt x="2077878" y="1359001"/>
                  <a:pt x="2069237" y="1359672"/>
                </a:cubicBezTo>
                <a:cubicBezTo>
                  <a:pt x="2059924" y="1360440"/>
                  <a:pt x="2049650" y="1358424"/>
                  <a:pt x="2041201" y="1361592"/>
                </a:cubicBezTo>
                <a:cubicBezTo>
                  <a:pt x="2016044" y="1371002"/>
                  <a:pt x="1990216" y="1373018"/>
                  <a:pt x="1963909" y="1373018"/>
                </a:cubicBezTo>
                <a:cubicBezTo>
                  <a:pt x="1959107" y="1373018"/>
                  <a:pt x="1954210" y="1371675"/>
                  <a:pt x="1949603" y="1370234"/>
                </a:cubicBezTo>
                <a:cubicBezTo>
                  <a:pt x="1922717" y="1361592"/>
                  <a:pt x="1895737" y="1362360"/>
                  <a:pt x="1868373" y="1367641"/>
                </a:cubicBezTo>
                <a:cubicBezTo>
                  <a:pt x="1862708" y="1368794"/>
                  <a:pt x="1856372" y="1368986"/>
                  <a:pt x="1850707" y="1367834"/>
                </a:cubicBezTo>
                <a:cubicBezTo>
                  <a:pt x="1834768" y="1364473"/>
                  <a:pt x="1819309" y="1358904"/>
                  <a:pt x="1803275" y="1356504"/>
                </a:cubicBezTo>
                <a:cubicBezTo>
                  <a:pt x="1776775" y="1352567"/>
                  <a:pt x="1753828" y="1365817"/>
                  <a:pt x="1730112" y="1374459"/>
                </a:cubicBezTo>
                <a:cubicBezTo>
                  <a:pt x="1707548" y="1382620"/>
                  <a:pt x="1688345" y="1401055"/>
                  <a:pt x="1661652" y="1396926"/>
                </a:cubicBezTo>
                <a:cubicBezTo>
                  <a:pt x="1658965" y="1396542"/>
                  <a:pt x="1655988" y="1399134"/>
                  <a:pt x="1653011" y="1399807"/>
                </a:cubicBezTo>
                <a:cubicBezTo>
                  <a:pt x="1644850" y="1401631"/>
                  <a:pt x="1636689" y="1403839"/>
                  <a:pt x="1628431" y="1404704"/>
                </a:cubicBezTo>
                <a:cubicBezTo>
                  <a:pt x="1618350" y="1405856"/>
                  <a:pt x="1608076" y="1405472"/>
                  <a:pt x="1597995" y="1406432"/>
                </a:cubicBezTo>
                <a:cubicBezTo>
                  <a:pt x="1585032" y="1407584"/>
                  <a:pt x="1572263" y="1410656"/>
                  <a:pt x="1559396" y="1410656"/>
                </a:cubicBezTo>
                <a:cubicBezTo>
                  <a:pt x="1549026" y="1410656"/>
                  <a:pt x="1538753" y="1407104"/>
                  <a:pt x="1528480" y="1405375"/>
                </a:cubicBezTo>
                <a:cubicBezTo>
                  <a:pt x="1513981" y="1402975"/>
                  <a:pt x="1498042" y="1403647"/>
                  <a:pt x="1485272" y="1397502"/>
                </a:cubicBezTo>
                <a:cubicBezTo>
                  <a:pt x="1471639" y="1390973"/>
                  <a:pt x="1458676" y="1387997"/>
                  <a:pt x="1444562" y="1390013"/>
                </a:cubicBezTo>
                <a:cubicBezTo>
                  <a:pt x="1439857" y="1390685"/>
                  <a:pt x="1433808" y="1394718"/>
                  <a:pt x="1431696" y="1398846"/>
                </a:cubicBezTo>
                <a:cubicBezTo>
                  <a:pt x="1426991" y="1408064"/>
                  <a:pt x="1420559" y="1409697"/>
                  <a:pt x="1411821" y="1406527"/>
                </a:cubicBezTo>
                <a:cubicBezTo>
                  <a:pt x="1404236" y="1403839"/>
                  <a:pt x="1394922" y="1402495"/>
                  <a:pt x="1389738" y="1397310"/>
                </a:cubicBezTo>
                <a:cubicBezTo>
                  <a:pt x="1375047" y="1382620"/>
                  <a:pt x="1356324" y="1382140"/>
                  <a:pt x="1338081" y="1378204"/>
                </a:cubicBezTo>
                <a:cubicBezTo>
                  <a:pt x="1326945" y="1375802"/>
                  <a:pt x="1316574" y="1375707"/>
                  <a:pt x="1305436" y="1377339"/>
                </a:cubicBezTo>
                <a:cubicBezTo>
                  <a:pt x="1281241" y="1380988"/>
                  <a:pt x="1257717" y="1375802"/>
                  <a:pt x="1234481" y="1369178"/>
                </a:cubicBezTo>
                <a:cubicBezTo>
                  <a:pt x="1219118" y="1364761"/>
                  <a:pt x="1203372" y="1362073"/>
                  <a:pt x="1188106" y="1357560"/>
                </a:cubicBezTo>
                <a:cubicBezTo>
                  <a:pt x="1176680" y="1354104"/>
                  <a:pt x="1165255" y="1349975"/>
                  <a:pt x="1154790" y="1344406"/>
                </a:cubicBezTo>
                <a:cubicBezTo>
                  <a:pt x="1139618" y="1336244"/>
                  <a:pt x="1126369" y="1323954"/>
                  <a:pt x="1107069" y="1327219"/>
                </a:cubicBezTo>
                <a:cubicBezTo>
                  <a:pt x="1090074" y="1330099"/>
                  <a:pt x="1074713" y="1324051"/>
                  <a:pt x="1059158" y="1318290"/>
                </a:cubicBezTo>
                <a:cubicBezTo>
                  <a:pt x="1047732" y="1314065"/>
                  <a:pt x="1036308" y="1309744"/>
                  <a:pt x="1024496" y="1307056"/>
                </a:cubicBezTo>
                <a:cubicBezTo>
                  <a:pt x="1010478" y="1303887"/>
                  <a:pt x="994635" y="1305232"/>
                  <a:pt x="982153" y="1299374"/>
                </a:cubicBezTo>
                <a:cubicBezTo>
                  <a:pt x="969095" y="1293229"/>
                  <a:pt x="958246" y="1297358"/>
                  <a:pt x="946628" y="1299087"/>
                </a:cubicBezTo>
                <a:cubicBezTo>
                  <a:pt x="928097" y="1301775"/>
                  <a:pt x="909661" y="1306768"/>
                  <a:pt x="890939" y="1300431"/>
                </a:cubicBezTo>
                <a:cubicBezTo>
                  <a:pt x="868184" y="1292750"/>
                  <a:pt x="845620" y="1284493"/>
                  <a:pt x="822769" y="1277196"/>
                </a:cubicBezTo>
                <a:cubicBezTo>
                  <a:pt x="813934" y="1274410"/>
                  <a:pt x="804431" y="1273258"/>
                  <a:pt x="795212" y="1272010"/>
                </a:cubicBezTo>
                <a:cubicBezTo>
                  <a:pt x="786476" y="1270954"/>
                  <a:pt x="776010" y="1273642"/>
                  <a:pt x="769288" y="1269610"/>
                </a:cubicBezTo>
                <a:cubicBezTo>
                  <a:pt x="752005" y="1259241"/>
                  <a:pt x="734243" y="1254152"/>
                  <a:pt x="714271" y="1254152"/>
                </a:cubicBezTo>
                <a:cubicBezTo>
                  <a:pt x="706781" y="1254152"/>
                  <a:pt x="699484" y="1249831"/>
                  <a:pt x="691900" y="1249062"/>
                </a:cubicBezTo>
                <a:cubicBezTo>
                  <a:pt x="681529" y="1248103"/>
                  <a:pt x="669623" y="1245510"/>
                  <a:pt x="660598" y="1249159"/>
                </a:cubicBezTo>
                <a:cubicBezTo>
                  <a:pt x="639379" y="1257800"/>
                  <a:pt x="622193" y="1250599"/>
                  <a:pt x="603662" y="1242054"/>
                </a:cubicBezTo>
                <a:cubicBezTo>
                  <a:pt x="585418" y="1233604"/>
                  <a:pt x="566215" y="1226884"/>
                  <a:pt x="546821" y="1221314"/>
                </a:cubicBezTo>
                <a:cubicBezTo>
                  <a:pt x="539524" y="1219298"/>
                  <a:pt x="530787" y="1222659"/>
                  <a:pt x="522721" y="1223330"/>
                </a:cubicBezTo>
                <a:cubicBezTo>
                  <a:pt x="519840" y="1223523"/>
                  <a:pt x="516671" y="1223811"/>
                  <a:pt x="514080" y="1222851"/>
                </a:cubicBezTo>
                <a:cubicBezTo>
                  <a:pt x="489020" y="1213633"/>
                  <a:pt x="463575" y="1206624"/>
                  <a:pt x="436404" y="1211424"/>
                </a:cubicBezTo>
                <a:cubicBezTo>
                  <a:pt x="433908" y="1211905"/>
                  <a:pt x="431123" y="1210849"/>
                  <a:pt x="428626" y="1210177"/>
                </a:cubicBezTo>
                <a:cubicBezTo>
                  <a:pt x="416432" y="1206720"/>
                  <a:pt x="404526" y="1201247"/>
                  <a:pt x="392141" y="1199999"/>
                </a:cubicBezTo>
                <a:cubicBezTo>
                  <a:pt x="361608" y="1196927"/>
                  <a:pt x="330884" y="1195678"/>
                  <a:pt x="300157" y="1193662"/>
                </a:cubicBezTo>
                <a:cubicBezTo>
                  <a:pt x="298237" y="1193566"/>
                  <a:pt x="296221" y="1193566"/>
                  <a:pt x="294493" y="1192894"/>
                </a:cubicBezTo>
                <a:cubicBezTo>
                  <a:pt x="283163" y="1188765"/>
                  <a:pt x="273274" y="1190110"/>
                  <a:pt x="263671" y="1197982"/>
                </a:cubicBezTo>
                <a:cubicBezTo>
                  <a:pt x="259447" y="1201439"/>
                  <a:pt x="253686" y="1203263"/>
                  <a:pt x="248406" y="1205184"/>
                </a:cubicBezTo>
                <a:cubicBezTo>
                  <a:pt x="240628" y="1208065"/>
                  <a:pt x="232659" y="1210849"/>
                  <a:pt x="224594" y="1212673"/>
                </a:cubicBezTo>
                <a:cubicBezTo>
                  <a:pt x="216624" y="1214401"/>
                  <a:pt x="208079" y="1216801"/>
                  <a:pt x="200398" y="1215458"/>
                </a:cubicBezTo>
                <a:cubicBezTo>
                  <a:pt x="186572" y="1213057"/>
                  <a:pt x="173417" y="1207681"/>
                  <a:pt x="159783" y="1204127"/>
                </a:cubicBezTo>
                <a:cubicBezTo>
                  <a:pt x="155079" y="1202879"/>
                  <a:pt x="149893" y="1203072"/>
                  <a:pt x="144997" y="1202975"/>
                </a:cubicBezTo>
                <a:cubicBezTo>
                  <a:pt x="133763" y="1202688"/>
                  <a:pt x="122241" y="1205472"/>
                  <a:pt x="112064" y="1197503"/>
                </a:cubicBezTo>
                <a:cubicBezTo>
                  <a:pt x="102655" y="1190014"/>
                  <a:pt x="93148" y="1192221"/>
                  <a:pt x="83259" y="1197887"/>
                </a:cubicBezTo>
                <a:cubicBezTo>
                  <a:pt x="76154" y="1201920"/>
                  <a:pt x="68090" y="1205088"/>
                  <a:pt x="60120" y="1206624"/>
                </a:cubicBezTo>
                <a:cubicBezTo>
                  <a:pt x="49174" y="1208736"/>
                  <a:pt x="38324" y="1209601"/>
                  <a:pt x="26514" y="1208352"/>
                </a:cubicBezTo>
                <a:cubicBezTo>
                  <a:pt x="18161" y="1207488"/>
                  <a:pt x="11343" y="1207104"/>
                  <a:pt x="4814" y="1202015"/>
                </a:cubicBezTo>
                <a:cubicBezTo>
                  <a:pt x="3759" y="1201247"/>
                  <a:pt x="1839" y="1201055"/>
                  <a:pt x="398" y="1201152"/>
                </a:cubicBezTo>
                <a:lnTo>
                  <a:pt x="0" y="1201150"/>
                </a:lnTo>
                <a:lnTo>
                  <a:pt x="0" y="1004512"/>
                </a:lnTo>
                <a:lnTo>
                  <a:pt x="30355" y="1002784"/>
                </a:lnTo>
                <a:cubicBezTo>
                  <a:pt x="37748" y="1002111"/>
                  <a:pt x="44853" y="999520"/>
                  <a:pt x="52151" y="997695"/>
                </a:cubicBezTo>
                <a:cubicBezTo>
                  <a:pt x="56183" y="996639"/>
                  <a:pt x="60504" y="993855"/>
                  <a:pt x="64248" y="994430"/>
                </a:cubicBezTo>
                <a:cubicBezTo>
                  <a:pt x="85948" y="997791"/>
                  <a:pt x="105823" y="989534"/>
                  <a:pt x="126370" y="985405"/>
                </a:cubicBezTo>
                <a:cubicBezTo>
                  <a:pt x="135876" y="983485"/>
                  <a:pt x="144805" y="978876"/>
                  <a:pt x="154022" y="975708"/>
                </a:cubicBezTo>
                <a:cubicBezTo>
                  <a:pt x="156423" y="974843"/>
                  <a:pt x="159111" y="974075"/>
                  <a:pt x="161512" y="974268"/>
                </a:cubicBezTo>
                <a:cubicBezTo>
                  <a:pt x="175242" y="975420"/>
                  <a:pt x="188876" y="977052"/>
                  <a:pt x="202510" y="978300"/>
                </a:cubicBezTo>
                <a:cubicBezTo>
                  <a:pt x="214896" y="979452"/>
                  <a:pt x="227378" y="979836"/>
                  <a:pt x="233235" y="993950"/>
                </a:cubicBezTo>
                <a:cubicBezTo>
                  <a:pt x="234100" y="996159"/>
                  <a:pt x="236979" y="997791"/>
                  <a:pt x="239188" y="999231"/>
                </a:cubicBezTo>
                <a:cubicBezTo>
                  <a:pt x="273274" y="1021411"/>
                  <a:pt x="291516" y="1020835"/>
                  <a:pt x="324834" y="997407"/>
                </a:cubicBezTo>
                <a:cubicBezTo>
                  <a:pt x="328290" y="995007"/>
                  <a:pt x="335683" y="993278"/>
                  <a:pt x="337987" y="995198"/>
                </a:cubicBezTo>
                <a:cubicBezTo>
                  <a:pt x="357575" y="1011137"/>
                  <a:pt x="378986" y="1009409"/>
                  <a:pt x="401550" y="1004416"/>
                </a:cubicBezTo>
                <a:cubicBezTo>
                  <a:pt x="407407" y="1003072"/>
                  <a:pt x="415664" y="1003072"/>
                  <a:pt x="420081" y="1006240"/>
                </a:cubicBezTo>
                <a:cubicBezTo>
                  <a:pt x="441108" y="1020930"/>
                  <a:pt x="463672" y="1018819"/>
                  <a:pt x="486523" y="1014498"/>
                </a:cubicBezTo>
                <a:cubicBezTo>
                  <a:pt x="490075" y="1013826"/>
                  <a:pt x="494397" y="1010177"/>
                  <a:pt x="495932" y="1006817"/>
                </a:cubicBezTo>
                <a:cubicBezTo>
                  <a:pt x="501406" y="994911"/>
                  <a:pt x="511680" y="990878"/>
                  <a:pt x="523009" y="987517"/>
                </a:cubicBezTo>
                <a:cubicBezTo>
                  <a:pt x="540868" y="982044"/>
                  <a:pt x="558438" y="975611"/>
                  <a:pt x="576393" y="970427"/>
                </a:cubicBezTo>
                <a:cubicBezTo>
                  <a:pt x="580811" y="969179"/>
                  <a:pt x="586283" y="969947"/>
                  <a:pt x="590892" y="971387"/>
                </a:cubicBezTo>
                <a:cubicBezTo>
                  <a:pt x="606638" y="976284"/>
                  <a:pt x="616624" y="988574"/>
                  <a:pt x="627569" y="999904"/>
                </a:cubicBezTo>
                <a:cubicBezTo>
                  <a:pt x="632370" y="1004897"/>
                  <a:pt x="638995" y="1008449"/>
                  <a:pt x="645429" y="1011329"/>
                </a:cubicBezTo>
                <a:cubicBezTo>
                  <a:pt x="662135" y="1018723"/>
                  <a:pt x="679226" y="1025348"/>
                  <a:pt x="696125" y="1032356"/>
                </a:cubicBezTo>
                <a:cubicBezTo>
                  <a:pt x="697757" y="1033029"/>
                  <a:pt x="699100" y="1034757"/>
                  <a:pt x="700349" y="1036197"/>
                </a:cubicBezTo>
                <a:cubicBezTo>
                  <a:pt x="712831" y="1051368"/>
                  <a:pt x="725216" y="1066634"/>
                  <a:pt x="737795" y="1081804"/>
                </a:cubicBezTo>
                <a:cubicBezTo>
                  <a:pt x="740195" y="1084684"/>
                  <a:pt x="743652" y="1086797"/>
                  <a:pt x="746244" y="1089581"/>
                </a:cubicBezTo>
                <a:cubicBezTo>
                  <a:pt x="749893" y="1093422"/>
                  <a:pt x="754502" y="1097071"/>
                  <a:pt x="756422" y="1101680"/>
                </a:cubicBezTo>
                <a:cubicBezTo>
                  <a:pt x="762374" y="1116177"/>
                  <a:pt x="773801" y="1122419"/>
                  <a:pt x="788202" y="1125108"/>
                </a:cubicBezTo>
                <a:cubicBezTo>
                  <a:pt x="801357" y="1127603"/>
                  <a:pt x="814511" y="1129716"/>
                  <a:pt x="827569" y="1132596"/>
                </a:cubicBezTo>
                <a:cubicBezTo>
                  <a:pt x="843507" y="1136053"/>
                  <a:pt x="859350" y="1139798"/>
                  <a:pt x="875097" y="1144022"/>
                </a:cubicBezTo>
                <a:cubicBezTo>
                  <a:pt x="881913" y="1145847"/>
                  <a:pt x="889115" y="1147959"/>
                  <a:pt x="894972" y="1151704"/>
                </a:cubicBezTo>
                <a:cubicBezTo>
                  <a:pt x="911390" y="1162073"/>
                  <a:pt x="928961" y="1169082"/>
                  <a:pt x="948260" y="1166298"/>
                </a:cubicBezTo>
                <a:cubicBezTo>
                  <a:pt x="963718" y="1164089"/>
                  <a:pt x="976680" y="1169754"/>
                  <a:pt x="986282" y="1178588"/>
                </a:cubicBezTo>
                <a:cubicBezTo>
                  <a:pt x="1003757" y="1194623"/>
                  <a:pt x="1022479" y="1190973"/>
                  <a:pt x="1041107" y="1185789"/>
                </a:cubicBezTo>
                <a:cubicBezTo>
                  <a:pt x="1050708" y="1183101"/>
                  <a:pt x="1058581" y="1183485"/>
                  <a:pt x="1067703" y="1186076"/>
                </a:cubicBezTo>
                <a:cubicBezTo>
                  <a:pt x="1088826" y="1192126"/>
                  <a:pt x="1102941" y="1208544"/>
                  <a:pt x="1116574" y="1222946"/>
                </a:cubicBezTo>
                <a:cubicBezTo>
                  <a:pt x="1128193" y="1235236"/>
                  <a:pt x="1141251" y="1242149"/>
                  <a:pt x="1155557" y="1247335"/>
                </a:cubicBezTo>
                <a:cubicBezTo>
                  <a:pt x="1173608" y="1253959"/>
                  <a:pt x="1187914" y="1251464"/>
                  <a:pt x="1196556" y="1235525"/>
                </a:cubicBezTo>
                <a:cubicBezTo>
                  <a:pt x="1198956" y="1231012"/>
                  <a:pt x="1203180" y="1225730"/>
                  <a:pt x="1207693" y="1224387"/>
                </a:cubicBezTo>
                <a:cubicBezTo>
                  <a:pt x="1229488" y="1217666"/>
                  <a:pt x="1251572" y="1207872"/>
                  <a:pt x="1274904" y="1213826"/>
                </a:cubicBezTo>
                <a:cubicBezTo>
                  <a:pt x="1307165" y="1221987"/>
                  <a:pt x="1338658" y="1221507"/>
                  <a:pt x="1370919" y="1213442"/>
                </a:cubicBezTo>
                <a:cubicBezTo>
                  <a:pt x="1423247" y="1200383"/>
                  <a:pt x="1475575" y="1186557"/>
                  <a:pt x="1530593" y="1189437"/>
                </a:cubicBezTo>
                <a:cubicBezTo>
                  <a:pt x="1539713" y="1189917"/>
                  <a:pt x="1550563" y="1184060"/>
                  <a:pt x="1558436" y="1178299"/>
                </a:cubicBezTo>
                <a:cubicBezTo>
                  <a:pt x="1573511" y="1167354"/>
                  <a:pt x="1572838" y="1166489"/>
                  <a:pt x="1589737" y="1175515"/>
                </a:cubicBezTo>
                <a:cubicBezTo>
                  <a:pt x="1593770" y="1177724"/>
                  <a:pt x="1598763" y="1179068"/>
                  <a:pt x="1601740" y="1182333"/>
                </a:cubicBezTo>
                <a:cubicBezTo>
                  <a:pt x="1616909" y="1198943"/>
                  <a:pt x="1635633" y="1194910"/>
                  <a:pt x="1654259" y="1192510"/>
                </a:cubicBezTo>
                <a:cubicBezTo>
                  <a:pt x="1657524" y="1192030"/>
                  <a:pt x="1661460" y="1191358"/>
                  <a:pt x="1664246" y="1192702"/>
                </a:cubicBezTo>
                <a:cubicBezTo>
                  <a:pt x="1676823" y="1198750"/>
                  <a:pt x="1687481" y="1196639"/>
                  <a:pt x="1698427" y="1188381"/>
                </a:cubicBezTo>
                <a:cubicBezTo>
                  <a:pt x="1707932" y="1181276"/>
                  <a:pt x="1718878" y="1177052"/>
                  <a:pt x="1730112" y="1185885"/>
                </a:cubicBezTo>
                <a:cubicBezTo>
                  <a:pt x="1755076" y="1205472"/>
                  <a:pt x="1781767" y="1206432"/>
                  <a:pt x="1809996" y="1194046"/>
                </a:cubicBezTo>
                <a:cubicBezTo>
                  <a:pt x="1830159" y="1185213"/>
                  <a:pt x="1850034" y="1183196"/>
                  <a:pt x="1871254" y="1192126"/>
                </a:cubicBezTo>
                <a:cubicBezTo>
                  <a:pt x="1879415" y="1195582"/>
                  <a:pt x="1889977" y="1193278"/>
                  <a:pt x="1899482" y="1194046"/>
                </a:cubicBezTo>
                <a:cubicBezTo>
                  <a:pt x="1904859" y="1194430"/>
                  <a:pt x="1910813" y="1194526"/>
                  <a:pt x="1915420" y="1196927"/>
                </a:cubicBezTo>
                <a:cubicBezTo>
                  <a:pt x="1927711" y="1203072"/>
                  <a:pt x="1939136" y="1210945"/>
                  <a:pt x="1951522" y="1216994"/>
                </a:cubicBezTo>
                <a:cubicBezTo>
                  <a:pt x="1957475" y="1219874"/>
                  <a:pt x="1964580" y="1221410"/>
                  <a:pt x="1971302" y="1221507"/>
                </a:cubicBezTo>
                <a:cubicBezTo>
                  <a:pt x="1991177" y="1221987"/>
                  <a:pt x="2011052" y="1221987"/>
                  <a:pt x="2030831" y="1221123"/>
                </a:cubicBezTo>
                <a:cubicBezTo>
                  <a:pt x="2063476" y="1219778"/>
                  <a:pt x="2096601" y="1219490"/>
                  <a:pt x="2120125" y="1190878"/>
                </a:cubicBezTo>
                <a:cubicBezTo>
                  <a:pt x="2122046" y="1188573"/>
                  <a:pt x="2126174" y="1187229"/>
                  <a:pt x="2129439" y="1186845"/>
                </a:cubicBezTo>
                <a:cubicBezTo>
                  <a:pt x="2144513" y="1185021"/>
                  <a:pt x="2159971" y="1184828"/>
                  <a:pt x="2174854" y="1181852"/>
                </a:cubicBezTo>
                <a:cubicBezTo>
                  <a:pt x="2186760" y="1179452"/>
                  <a:pt x="2196650" y="1180220"/>
                  <a:pt x="2205674" y="1188669"/>
                </a:cubicBezTo>
                <a:cubicBezTo>
                  <a:pt x="2217485" y="1199807"/>
                  <a:pt x="2231887" y="1206336"/>
                  <a:pt x="2247634" y="1202784"/>
                </a:cubicBezTo>
                <a:cubicBezTo>
                  <a:pt x="2263379" y="1199327"/>
                  <a:pt x="2273749" y="1206816"/>
                  <a:pt x="2285367" y="1214594"/>
                </a:cubicBezTo>
                <a:cubicBezTo>
                  <a:pt x="2293817" y="1220258"/>
                  <a:pt x="2303418" y="1227363"/>
                  <a:pt x="2312827" y="1227939"/>
                </a:cubicBezTo>
                <a:cubicBezTo>
                  <a:pt x="2334143" y="1229187"/>
                  <a:pt x="2352482" y="1248967"/>
                  <a:pt x="2375622" y="1237733"/>
                </a:cubicBezTo>
                <a:cubicBezTo>
                  <a:pt x="2377158" y="1236965"/>
                  <a:pt x="2379942" y="1238885"/>
                  <a:pt x="2382151" y="1239365"/>
                </a:cubicBezTo>
                <a:cubicBezTo>
                  <a:pt x="2399817" y="1243014"/>
                  <a:pt x="2416428" y="1239461"/>
                  <a:pt x="2429390" y="1227459"/>
                </a:cubicBezTo>
                <a:cubicBezTo>
                  <a:pt x="2446385" y="1211809"/>
                  <a:pt x="2465203" y="1210272"/>
                  <a:pt x="2486134" y="1215362"/>
                </a:cubicBezTo>
                <a:cubicBezTo>
                  <a:pt x="2492856" y="1216994"/>
                  <a:pt x="2499577" y="1218146"/>
                  <a:pt x="2506394" y="1219490"/>
                </a:cubicBezTo>
                <a:cubicBezTo>
                  <a:pt x="2515611" y="1221410"/>
                  <a:pt x="2524925" y="1223427"/>
                  <a:pt x="2534142" y="1225347"/>
                </a:cubicBezTo>
                <a:cubicBezTo>
                  <a:pt x="2543072" y="1227268"/>
                  <a:pt x="2552962" y="1230532"/>
                  <a:pt x="2559874" y="1222275"/>
                </a:cubicBezTo>
                <a:cubicBezTo>
                  <a:pt x="2565827" y="1215169"/>
                  <a:pt x="2570052" y="1215842"/>
                  <a:pt x="2575525" y="1221987"/>
                </a:cubicBezTo>
                <a:cubicBezTo>
                  <a:pt x="2594536" y="1243494"/>
                  <a:pt x="2617580" y="1256936"/>
                  <a:pt x="2646960" y="1257896"/>
                </a:cubicBezTo>
                <a:cubicBezTo>
                  <a:pt x="2653009" y="1258088"/>
                  <a:pt x="2659154" y="1259432"/>
                  <a:pt x="2665107" y="1260873"/>
                </a:cubicBezTo>
                <a:cubicBezTo>
                  <a:pt x="2668756" y="1261736"/>
                  <a:pt x="2673173" y="1262697"/>
                  <a:pt x="2675381" y="1265290"/>
                </a:cubicBezTo>
                <a:cubicBezTo>
                  <a:pt x="2692567" y="1285068"/>
                  <a:pt x="2713979" y="1298799"/>
                  <a:pt x="2737311" y="1309841"/>
                </a:cubicBezTo>
                <a:cubicBezTo>
                  <a:pt x="2745664" y="1313777"/>
                  <a:pt x="2754594" y="1317713"/>
                  <a:pt x="2763619" y="1318866"/>
                </a:cubicBezTo>
                <a:cubicBezTo>
                  <a:pt x="2773028" y="1320018"/>
                  <a:pt x="2782917" y="1318098"/>
                  <a:pt x="2792519" y="1317041"/>
                </a:cubicBezTo>
                <a:cubicBezTo>
                  <a:pt x="2798184" y="1316466"/>
                  <a:pt x="2804713" y="1316561"/>
                  <a:pt x="2809226" y="1313777"/>
                </a:cubicBezTo>
                <a:cubicBezTo>
                  <a:pt x="2823532" y="1305039"/>
                  <a:pt x="2837358" y="1295631"/>
                  <a:pt x="2850705" y="1285452"/>
                </a:cubicBezTo>
                <a:cubicBezTo>
                  <a:pt x="2862131" y="1276715"/>
                  <a:pt x="2864435" y="1275467"/>
                  <a:pt x="2874324" y="1286413"/>
                </a:cubicBezTo>
                <a:cubicBezTo>
                  <a:pt x="2884502" y="1297647"/>
                  <a:pt x="2897176" y="1303503"/>
                  <a:pt x="2911194" y="1305903"/>
                </a:cubicBezTo>
                <a:cubicBezTo>
                  <a:pt x="2933373" y="1309648"/>
                  <a:pt x="2955745" y="1312816"/>
                  <a:pt x="2978116" y="1314641"/>
                </a:cubicBezTo>
                <a:cubicBezTo>
                  <a:pt x="2998375" y="1316273"/>
                  <a:pt x="3008073" y="1307440"/>
                  <a:pt x="3012106" y="1287373"/>
                </a:cubicBezTo>
                <a:cubicBezTo>
                  <a:pt x="3014410" y="1276235"/>
                  <a:pt x="3017387" y="1264137"/>
                  <a:pt x="3029676" y="1261161"/>
                </a:cubicBezTo>
                <a:cubicBezTo>
                  <a:pt x="3049744" y="1256360"/>
                  <a:pt x="3070579" y="1254248"/>
                  <a:pt x="3080469" y="1230724"/>
                </a:cubicBezTo>
                <a:cubicBezTo>
                  <a:pt x="3085941" y="1235909"/>
                  <a:pt x="3089302" y="1238981"/>
                  <a:pt x="3092567" y="1242054"/>
                </a:cubicBezTo>
                <a:cubicBezTo>
                  <a:pt x="3101592" y="1250599"/>
                  <a:pt x="3120314" y="1254248"/>
                  <a:pt x="3129821" y="1246855"/>
                </a:cubicBezTo>
                <a:cubicBezTo>
                  <a:pt x="3143839" y="1236101"/>
                  <a:pt x="3156705" y="1238117"/>
                  <a:pt x="3170147" y="1246471"/>
                </a:cubicBezTo>
                <a:cubicBezTo>
                  <a:pt x="3192615" y="1260297"/>
                  <a:pt x="3217674" y="1257128"/>
                  <a:pt x="3240429" y="1251559"/>
                </a:cubicBezTo>
                <a:cubicBezTo>
                  <a:pt x="3257617" y="1247430"/>
                  <a:pt x="3275956" y="1239845"/>
                  <a:pt x="3287189" y="1222466"/>
                </a:cubicBezTo>
                <a:cubicBezTo>
                  <a:pt x="3290741" y="1216898"/>
                  <a:pt x="3298711" y="1214113"/>
                  <a:pt x="3305049" y="1210465"/>
                </a:cubicBezTo>
                <a:cubicBezTo>
                  <a:pt x="3310329" y="1207488"/>
                  <a:pt x="3315898" y="1204704"/>
                  <a:pt x="3321755" y="1202784"/>
                </a:cubicBezTo>
                <a:cubicBezTo>
                  <a:pt x="3327995" y="1200671"/>
                  <a:pt x="3334909" y="1197598"/>
                  <a:pt x="3341055" y="1198463"/>
                </a:cubicBezTo>
                <a:cubicBezTo>
                  <a:pt x="3359681" y="1200959"/>
                  <a:pt x="3374467" y="1196062"/>
                  <a:pt x="3387621" y="1182140"/>
                </a:cubicBezTo>
                <a:cubicBezTo>
                  <a:pt x="3394439" y="1174939"/>
                  <a:pt x="3404520" y="1166202"/>
                  <a:pt x="3413161" y="1166105"/>
                </a:cubicBezTo>
                <a:cubicBezTo>
                  <a:pt x="3434189" y="1165818"/>
                  <a:pt x="3451663" y="1158905"/>
                  <a:pt x="3470579" y="1150647"/>
                </a:cubicBezTo>
                <a:cubicBezTo>
                  <a:pt x="3482772" y="1145366"/>
                  <a:pt x="3496598" y="1141718"/>
                  <a:pt x="3509657" y="1136821"/>
                </a:cubicBezTo>
                <a:cubicBezTo>
                  <a:pt x="3524923" y="1131060"/>
                  <a:pt x="3541534" y="1128948"/>
                  <a:pt x="3550847" y="1113009"/>
                </a:cubicBezTo>
                <a:cubicBezTo>
                  <a:pt x="3551903" y="1111281"/>
                  <a:pt x="3555072" y="1110993"/>
                  <a:pt x="3556608" y="1109361"/>
                </a:cubicBezTo>
                <a:cubicBezTo>
                  <a:pt x="3561505" y="1104368"/>
                  <a:pt x="3567842" y="1099760"/>
                  <a:pt x="3570435" y="1093710"/>
                </a:cubicBezTo>
                <a:cubicBezTo>
                  <a:pt x="3577923" y="1076044"/>
                  <a:pt x="3583780" y="1057800"/>
                  <a:pt x="3590501" y="1039846"/>
                </a:cubicBezTo>
                <a:cubicBezTo>
                  <a:pt x="3591942" y="1036005"/>
                  <a:pt x="3593285" y="1031108"/>
                  <a:pt x="3596263" y="1028900"/>
                </a:cubicBezTo>
                <a:cubicBezTo>
                  <a:pt x="3613449" y="1016226"/>
                  <a:pt x="3630925" y="1004032"/>
                  <a:pt x="3648591" y="992030"/>
                </a:cubicBezTo>
                <a:cubicBezTo>
                  <a:pt x="3655696" y="987229"/>
                  <a:pt x="3661649" y="989918"/>
                  <a:pt x="3667986" y="995487"/>
                </a:cubicBezTo>
                <a:cubicBezTo>
                  <a:pt x="3674131" y="1000768"/>
                  <a:pt x="3681717" y="1006240"/>
                  <a:pt x="3689397" y="1007585"/>
                </a:cubicBezTo>
                <a:cubicBezTo>
                  <a:pt x="3704760" y="1010177"/>
                  <a:pt x="3720698" y="1010753"/>
                  <a:pt x="3736349" y="1010753"/>
                </a:cubicBezTo>
                <a:cubicBezTo>
                  <a:pt x="3742205" y="1010753"/>
                  <a:pt x="3748446" y="1007297"/>
                  <a:pt x="3753919" y="1004513"/>
                </a:cubicBezTo>
                <a:cubicBezTo>
                  <a:pt x="3764289" y="999231"/>
                  <a:pt x="3773890" y="992126"/>
                  <a:pt x="3784643" y="987710"/>
                </a:cubicBezTo>
                <a:cubicBezTo>
                  <a:pt x="3797126" y="982621"/>
                  <a:pt x="3804615" y="974459"/>
                  <a:pt x="3808359" y="961689"/>
                </a:cubicBezTo>
                <a:cubicBezTo>
                  <a:pt x="3813929" y="942679"/>
                  <a:pt x="3827179" y="929428"/>
                  <a:pt x="3842829" y="918674"/>
                </a:cubicBezTo>
                <a:cubicBezTo>
                  <a:pt x="3862705" y="904944"/>
                  <a:pt x="3886421" y="905616"/>
                  <a:pt x="3908983" y="902256"/>
                </a:cubicBezTo>
                <a:cubicBezTo>
                  <a:pt x="3917625" y="901008"/>
                  <a:pt x="3926555" y="899951"/>
                  <a:pt x="3934428" y="896783"/>
                </a:cubicBezTo>
                <a:cubicBezTo>
                  <a:pt x="3964288" y="884877"/>
                  <a:pt x="3994149" y="873548"/>
                  <a:pt x="4026987" y="873835"/>
                </a:cubicBezTo>
                <a:cubicBezTo>
                  <a:pt x="4029674" y="873835"/>
                  <a:pt x="4032363" y="873548"/>
                  <a:pt x="4035051" y="873067"/>
                </a:cubicBezTo>
                <a:cubicBezTo>
                  <a:pt x="4058383" y="869131"/>
                  <a:pt x="4082483" y="867594"/>
                  <a:pt x="4099189" y="846664"/>
                </a:cubicBezTo>
                <a:cubicBezTo>
                  <a:pt x="4102261" y="842823"/>
                  <a:pt x="4109271" y="841671"/>
                  <a:pt x="4114647" y="840134"/>
                </a:cubicBezTo>
                <a:cubicBezTo>
                  <a:pt x="4123961" y="837638"/>
                  <a:pt x="4130203" y="832549"/>
                  <a:pt x="4133563" y="823427"/>
                </a:cubicBezTo>
                <a:cubicBezTo>
                  <a:pt x="4139229" y="807681"/>
                  <a:pt x="4145949" y="792223"/>
                  <a:pt x="4151039" y="776284"/>
                </a:cubicBezTo>
                <a:cubicBezTo>
                  <a:pt x="4154591" y="765338"/>
                  <a:pt x="4161215" y="759289"/>
                  <a:pt x="4171489" y="754776"/>
                </a:cubicBezTo>
                <a:cubicBezTo>
                  <a:pt x="4177251" y="752280"/>
                  <a:pt x="4182243" y="746808"/>
                  <a:pt x="4186372" y="741718"/>
                </a:cubicBezTo>
                <a:cubicBezTo>
                  <a:pt x="4191365" y="735573"/>
                  <a:pt x="4193957" y="727412"/>
                  <a:pt x="4199429" y="721940"/>
                </a:cubicBezTo>
                <a:cubicBezTo>
                  <a:pt x="4212775" y="708305"/>
                  <a:pt x="4216905" y="693231"/>
                  <a:pt x="4212487" y="674604"/>
                </a:cubicBezTo>
                <a:cubicBezTo>
                  <a:pt x="4208551" y="658090"/>
                  <a:pt x="4218921" y="636006"/>
                  <a:pt x="4232555" y="632645"/>
                </a:cubicBezTo>
                <a:cubicBezTo>
                  <a:pt x="4247629" y="628900"/>
                  <a:pt x="4257999" y="619684"/>
                  <a:pt x="4268657" y="609410"/>
                </a:cubicBezTo>
                <a:cubicBezTo>
                  <a:pt x="4274609" y="603649"/>
                  <a:pt x="4282963" y="598656"/>
                  <a:pt x="4291028" y="597216"/>
                </a:cubicBezTo>
                <a:cubicBezTo>
                  <a:pt x="4321657" y="591647"/>
                  <a:pt x="4350557" y="598464"/>
                  <a:pt x="4379651" y="609506"/>
                </a:cubicBezTo>
                <a:cubicBezTo>
                  <a:pt x="4398661" y="616707"/>
                  <a:pt x="4419784" y="618627"/>
                  <a:pt x="4440139" y="621507"/>
                </a:cubicBezTo>
                <a:cubicBezTo>
                  <a:pt x="4446477" y="622371"/>
                  <a:pt x="4454542" y="620452"/>
                  <a:pt x="4460015" y="616899"/>
                </a:cubicBezTo>
                <a:cubicBezTo>
                  <a:pt x="4479218" y="604609"/>
                  <a:pt x="4498325" y="591935"/>
                  <a:pt x="4516183" y="577724"/>
                </a:cubicBezTo>
                <a:cubicBezTo>
                  <a:pt x="4532795" y="564379"/>
                  <a:pt x="4551517" y="558810"/>
                  <a:pt x="4571681" y="560250"/>
                </a:cubicBezTo>
                <a:cubicBezTo>
                  <a:pt x="4586371" y="561306"/>
                  <a:pt x="4599621" y="558905"/>
                  <a:pt x="4613447" y="555257"/>
                </a:cubicBezTo>
                <a:cubicBezTo>
                  <a:pt x="4624969" y="552185"/>
                  <a:pt x="4637643" y="550072"/>
                  <a:pt x="4649355" y="551417"/>
                </a:cubicBezTo>
                <a:cubicBezTo>
                  <a:pt x="4665775" y="553337"/>
                  <a:pt x="4679313" y="550553"/>
                  <a:pt x="4692467" y="540663"/>
                </a:cubicBezTo>
                <a:cubicBezTo>
                  <a:pt x="4699476" y="535382"/>
                  <a:pt x="4708502" y="532598"/>
                  <a:pt x="4716855" y="528949"/>
                </a:cubicBezTo>
                <a:cubicBezTo>
                  <a:pt x="4729721" y="523284"/>
                  <a:pt x="4743067" y="518483"/>
                  <a:pt x="4755645" y="512147"/>
                </a:cubicBezTo>
                <a:cubicBezTo>
                  <a:pt x="4769183" y="505425"/>
                  <a:pt x="4781569" y="496112"/>
                  <a:pt x="4795395" y="490351"/>
                </a:cubicBezTo>
                <a:cubicBezTo>
                  <a:pt x="4810278" y="484110"/>
                  <a:pt x="4819879" y="474605"/>
                  <a:pt x="4825928" y="459818"/>
                </a:cubicBezTo>
                <a:cubicBezTo>
                  <a:pt x="4829769" y="450504"/>
                  <a:pt x="4835049" y="440615"/>
                  <a:pt x="4842347" y="434086"/>
                </a:cubicBezTo>
                <a:cubicBezTo>
                  <a:pt x="4857422" y="420740"/>
                  <a:pt x="4875087" y="410370"/>
                  <a:pt x="4890451" y="397216"/>
                </a:cubicBezTo>
                <a:cubicBezTo>
                  <a:pt x="4912054" y="378781"/>
                  <a:pt x="4932025" y="359194"/>
                  <a:pt x="4933945" y="327701"/>
                </a:cubicBezTo>
                <a:cubicBezTo>
                  <a:pt x="4935001" y="310322"/>
                  <a:pt x="4944219" y="302929"/>
                  <a:pt x="4961214" y="298801"/>
                </a:cubicBezTo>
                <a:cubicBezTo>
                  <a:pt x="4966878" y="297457"/>
                  <a:pt x="4974945" y="294864"/>
                  <a:pt x="4976672" y="290639"/>
                </a:cubicBezTo>
                <a:cubicBezTo>
                  <a:pt x="4981857" y="278061"/>
                  <a:pt x="4992610" y="275565"/>
                  <a:pt x="5002979" y="270573"/>
                </a:cubicBezTo>
                <a:cubicBezTo>
                  <a:pt x="5009221" y="267596"/>
                  <a:pt x="5016903" y="261739"/>
                  <a:pt x="5018535" y="255690"/>
                </a:cubicBezTo>
                <a:cubicBezTo>
                  <a:pt x="5025255" y="231206"/>
                  <a:pt x="5043690" y="216804"/>
                  <a:pt x="5061069" y="200961"/>
                </a:cubicBezTo>
                <a:cubicBezTo>
                  <a:pt x="5066158" y="196256"/>
                  <a:pt x="5071631" y="190879"/>
                  <a:pt x="5074127" y="184735"/>
                </a:cubicBezTo>
                <a:cubicBezTo>
                  <a:pt x="5079409" y="171484"/>
                  <a:pt x="5087281" y="161882"/>
                  <a:pt x="5101108" y="156891"/>
                </a:cubicBezTo>
                <a:cubicBezTo>
                  <a:pt x="5105524" y="155354"/>
                  <a:pt x="5109557" y="151801"/>
                  <a:pt x="5112918" y="148441"/>
                </a:cubicBezTo>
                <a:cubicBezTo>
                  <a:pt x="5120119" y="141144"/>
                  <a:pt x="5126167" y="132598"/>
                  <a:pt x="5133753" y="125782"/>
                </a:cubicBezTo>
                <a:cubicBezTo>
                  <a:pt x="5153051" y="108211"/>
                  <a:pt x="5172159" y="90928"/>
                  <a:pt x="5183393" y="66348"/>
                </a:cubicBezTo>
                <a:cubicBezTo>
                  <a:pt x="5188865" y="54346"/>
                  <a:pt x="5195107" y="41288"/>
                  <a:pt x="5204709" y="33030"/>
                </a:cubicBezTo>
                <a:cubicBezTo>
                  <a:pt x="5216903" y="22565"/>
                  <a:pt x="5232937" y="16612"/>
                  <a:pt x="5247243" y="8451"/>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3" name="Freeform: Shape 12">
            <a:extLst>
              <a:ext uri="{FF2B5EF4-FFF2-40B4-BE49-F238E27FC236}">
                <a16:creationId xmlns:a16="http://schemas.microsoft.com/office/drawing/2014/main" id="{94993204-9792-4E61-A83C-73D4379E2B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4138312"/>
            <a:ext cx="5260975" cy="1410656"/>
          </a:xfrm>
          <a:custGeom>
            <a:avLst/>
            <a:gdLst>
              <a:gd name="connsiteX0" fmla="*/ 5260975 w 5260975"/>
              <a:gd name="connsiteY0" fmla="*/ 0 h 1410656"/>
              <a:gd name="connsiteX1" fmla="*/ 5260975 w 5260975"/>
              <a:gd name="connsiteY1" fmla="*/ 221634 h 1410656"/>
              <a:gd name="connsiteX2" fmla="*/ 5226503 w 5260975"/>
              <a:gd name="connsiteY2" fmla="*/ 237063 h 1410656"/>
              <a:gd name="connsiteX3" fmla="*/ 5206341 w 5260975"/>
              <a:gd name="connsiteY3" fmla="*/ 245128 h 1410656"/>
              <a:gd name="connsiteX4" fmla="*/ 5123287 w 5260975"/>
              <a:gd name="connsiteY4" fmla="*/ 297073 h 1410656"/>
              <a:gd name="connsiteX5" fmla="*/ 5048107 w 5260975"/>
              <a:gd name="connsiteY5" fmla="*/ 361307 h 1410656"/>
              <a:gd name="connsiteX6" fmla="*/ 4992899 w 5260975"/>
              <a:gd name="connsiteY6" fmla="*/ 437542 h 1410656"/>
              <a:gd name="connsiteX7" fmla="*/ 4977440 w 5260975"/>
              <a:gd name="connsiteY7" fmla="*/ 455690 h 1410656"/>
              <a:gd name="connsiteX8" fmla="*/ 4935193 w 5260975"/>
              <a:gd name="connsiteY8" fmla="*/ 478445 h 1410656"/>
              <a:gd name="connsiteX9" fmla="*/ 4897844 w 5260975"/>
              <a:gd name="connsiteY9" fmla="*/ 495535 h 1410656"/>
              <a:gd name="connsiteX10" fmla="*/ 4870767 w 5260975"/>
              <a:gd name="connsiteY10" fmla="*/ 514451 h 1410656"/>
              <a:gd name="connsiteX11" fmla="*/ 4847916 w 5260975"/>
              <a:gd name="connsiteY11" fmla="*/ 531830 h 1410656"/>
              <a:gd name="connsiteX12" fmla="*/ 4796163 w 5260975"/>
              <a:gd name="connsiteY12" fmla="*/ 576765 h 1410656"/>
              <a:gd name="connsiteX13" fmla="*/ 4738843 w 5260975"/>
              <a:gd name="connsiteY13" fmla="*/ 614691 h 1410656"/>
              <a:gd name="connsiteX14" fmla="*/ 4692755 w 5260975"/>
              <a:gd name="connsiteY14" fmla="*/ 661162 h 1410656"/>
              <a:gd name="connsiteX15" fmla="*/ 4673744 w 5260975"/>
              <a:gd name="connsiteY15" fmla="*/ 686318 h 1410656"/>
              <a:gd name="connsiteX16" fmla="*/ 4633801 w 5260975"/>
              <a:gd name="connsiteY16" fmla="*/ 703505 h 1410656"/>
              <a:gd name="connsiteX17" fmla="*/ 4590499 w 5260975"/>
              <a:gd name="connsiteY17" fmla="*/ 730389 h 1410656"/>
              <a:gd name="connsiteX18" fmla="*/ 4559773 w 5260975"/>
              <a:gd name="connsiteY18" fmla="*/ 757081 h 1410656"/>
              <a:gd name="connsiteX19" fmla="*/ 4536059 w 5260975"/>
              <a:gd name="connsiteY19" fmla="*/ 774940 h 1410656"/>
              <a:gd name="connsiteX20" fmla="*/ 4502549 w 5260975"/>
              <a:gd name="connsiteY20" fmla="*/ 792895 h 1410656"/>
              <a:gd name="connsiteX21" fmla="*/ 4468944 w 5260975"/>
              <a:gd name="connsiteY21" fmla="*/ 816419 h 1410656"/>
              <a:gd name="connsiteX22" fmla="*/ 4452622 w 5260975"/>
              <a:gd name="connsiteY22" fmla="*/ 830917 h 1410656"/>
              <a:gd name="connsiteX23" fmla="*/ 4421032 w 5260975"/>
              <a:gd name="connsiteY23" fmla="*/ 855016 h 1410656"/>
              <a:gd name="connsiteX24" fmla="*/ 4388483 w 5260975"/>
              <a:gd name="connsiteY24" fmla="*/ 877484 h 1410656"/>
              <a:gd name="connsiteX25" fmla="*/ 4327321 w 5260975"/>
              <a:gd name="connsiteY25" fmla="*/ 903216 h 1410656"/>
              <a:gd name="connsiteX26" fmla="*/ 4271633 w 5260975"/>
              <a:gd name="connsiteY26" fmla="*/ 941046 h 1410656"/>
              <a:gd name="connsiteX27" fmla="*/ 4227465 w 5260975"/>
              <a:gd name="connsiteY27" fmla="*/ 968698 h 1410656"/>
              <a:gd name="connsiteX28" fmla="*/ 4201733 w 5260975"/>
              <a:gd name="connsiteY28" fmla="*/ 986846 h 1410656"/>
              <a:gd name="connsiteX29" fmla="*/ 4154494 w 5260975"/>
              <a:gd name="connsiteY29" fmla="*/ 1027364 h 1410656"/>
              <a:gd name="connsiteX30" fmla="*/ 4081234 w 5260975"/>
              <a:gd name="connsiteY30" fmla="*/ 1069994 h 1410656"/>
              <a:gd name="connsiteX31" fmla="*/ 4036971 w 5260975"/>
              <a:gd name="connsiteY31" fmla="*/ 1093038 h 1410656"/>
              <a:gd name="connsiteX32" fmla="*/ 3941725 w 5260975"/>
              <a:gd name="connsiteY32" fmla="*/ 1127796 h 1410656"/>
              <a:gd name="connsiteX33" fmla="*/ 3910999 w 5260975"/>
              <a:gd name="connsiteY33" fmla="*/ 1140182 h 1410656"/>
              <a:gd name="connsiteX34" fmla="*/ 3875859 w 5260975"/>
              <a:gd name="connsiteY34" fmla="*/ 1148343 h 1410656"/>
              <a:gd name="connsiteX35" fmla="*/ 3819401 w 5260975"/>
              <a:gd name="connsiteY35" fmla="*/ 1167642 h 1410656"/>
              <a:gd name="connsiteX36" fmla="*/ 3709176 w 5260975"/>
              <a:gd name="connsiteY36" fmla="*/ 1200863 h 1410656"/>
              <a:gd name="connsiteX37" fmla="*/ 3684981 w 5260975"/>
              <a:gd name="connsiteY37" fmla="*/ 1205952 h 1410656"/>
              <a:gd name="connsiteX38" fmla="*/ 3623338 w 5260975"/>
              <a:gd name="connsiteY38" fmla="*/ 1227363 h 1410656"/>
              <a:gd name="connsiteX39" fmla="*/ 3586373 w 5260975"/>
              <a:gd name="connsiteY39" fmla="*/ 1241765 h 1410656"/>
              <a:gd name="connsiteX40" fmla="*/ 3555743 w 5260975"/>
              <a:gd name="connsiteY40" fmla="*/ 1250023 h 1410656"/>
              <a:gd name="connsiteX41" fmla="*/ 3528667 w 5260975"/>
              <a:gd name="connsiteY41" fmla="*/ 1253864 h 1410656"/>
              <a:gd name="connsiteX42" fmla="*/ 3457424 w 5260975"/>
              <a:gd name="connsiteY42" fmla="*/ 1272874 h 1410656"/>
              <a:gd name="connsiteX43" fmla="*/ 3429003 w 5260975"/>
              <a:gd name="connsiteY43" fmla="*/ 1280364 h 1410656"/>
              <a:gd name="connsiteX44" fmla="*/ 3355264 w 5260975"/>
              <a:gd name="connsiteY44" fmla="*/ 1306096 h 1410656"/>
              <a:gd name="connsiteX45" fmla="*/ 3292757 w 5260975"/>
              <a:gd name="connsiteY45" fmla="*/ 1323090 h 1410656"/>
              <a:gd name="connsiteX46" fmla="*/ 3266643 w 5260975"/>
              <a:gd name="connsiteY46" fmla="*/ 1331251 h 1410656"/>
              <a:gd name="connsiteX47" fmla="*/ 3206921 w 5260975"/>
              <a:gd name="connsiteY47" fmla="*/ 1344886 h 1410656"/>
              <a:gd name="connsiteX48" fmla="*/ 3173123 w 5260975"/>
              <a:gd name="connsiteY48" fmla="*/ 1354488 h 1410656"/>
              <a:gd name="connsiteX49" fmla="*/ 3090646 w 5260975"/>
              <a:gd name="connsiteY49" fmla="*/ 1365337 h 1410656"/>
              <a:gd name="connsiteX50" fmla="*/ 3005480 w 5260975"/>
              <a:gd name="connsiteY50" fmla="*/ 1375802 h 1410656"/>
              <a:gd name="connsiteX51" fmla="*/ 2958721 w 5260975"/>
              <a:gd name="connsiteY51" fmla="*/ 1379259 h 1410656"/>
              <a:gd name="connsiteX52" fmla="*/ 2917915 w 5260975"/>
              <a:gd name="connsiteY52" fmla="*/ 1384733 h 1410656"/>
              <a:gd name="connsiteX53" fmla="*/ 2882389 w 5260975"/>
              <a:gd name="connsiteY53" fmla="*/ 1388189 h 1410656"/>
              <a:gd name="connsiteX54" fmla="*/ 2825837 w 5260975"/>
              <a:gd name="connsiteY54" fmla="*/ 1395198 h 1410656"/>
              <a:gd name="connsiteX55" fmla="*/ 2802313 w 5260975"/>
              <a:gd name="connsiteY55" fmla="*/ 1397023 h 1410656"/>
              <a:gd name="connsiteX56" fmla="*/ 2746816 w 5260975"/>
              <a:gd name="connsiteY56" fmla="*/ 1396926 h 1410656"/>
              <a:gd name="connsiteX57" fmla="*/ 2727517 w 5260975"/>
              <a:gd name="connsiteY57" fmla="*/ 1395966 h 1410656"/>
              <a:gd name="connsiteX58" fmla="*/ 2690359 w 5260975"/>
              <a:gd name="connsiteY58" fmla="*/ 1384060 h 1410656"/>
              <a:gd name="connsiteX59" fmla="*/ 2685943 w 5260975"/>
              <a:gd name="connsiteY59" fmla="*/ 1383196 h 1410656"/>
              <a:gd name="connsiteX60" fmla="*/ 2661554 w 5260975"/>
              <a:gd name="connsiteY60" fmla="*/ 1378491 h 1410656"/>
              <a:gd name="connsiteX61" fmla="*/ 2648208 w 5260975"/>
              <a:gd name="connsiteY61" fmla="*/ 1376955 h 1410656"/>
              <a:gd name="connsiteX62" fmla="*/ 2597512 w 5260975"/>
              <a:gd name="connsiteY62" fmla="*/ 1367162 h 1410656"/>
              <a:gd name="connsiteX63" fmla="*/ 2568324 w 5260975"/>
              <a:gd name="connsiteY63" fmla="*/ 1362553 h 1410656"/>
              <a:gd name="connsiteX64" fmla="*/ 2544704 w 5260975"/>
              <a:gd name="connsiteY64" fmla="*/ 1363225 h 1410656"/>
              <a:gd name="connsiteX65" fmla="*/ 2503225 w 5260975"/>
              <a:gd name="connsiteY65" fmla="*/ 1364089 h 1410656"/>
              <a:gd name="connsiteX66" fmla="*/ 2489975 w 5260975"/>
              <a:gd name="connsiteY66" fmla="*/ 1366298 h 1410656"/>
              <a:gd name="connsiteX67" fmla="*/ 2430061 w 5260975"/>
              <a:gd name="connsiteY67" fmla="*/ 1359960 h 1410656"/>
              <a:gd name="connsiteX68" fmla="*/ 2395880 w 5260975"/>
              <a:gd name="connsiteY68" fmla="*/ 1359480 h 1410656"/>
              <a:gd name="connsiteX69" fmla="*/ 2357378 w 5260975"/>
              <a:gd name="connsiteY69" fmla="*/ 1351607 h 1410656"/>
              <a:gd name="connsiteX70" fmla="*/ 2346145 w 5260975"/>
              <a:gd name="connsiteY70" fmla="*/ 1351991 h 1410656"/>
              <a:gd name="connsiteX71" fmla="*/ 2333567 w 5260975"/>
              <a:gd name="connsiteY71" fmla="*/ 1352663 h 1410656"/>
              <a:gd name="connsiteX72" fmla="*/ 2294968 w 5260975"/>
              <a:gd name="connsiteY72" fmla="*/ 1353240 h 1410656"/>
              <a:gd name="connsiteX73" fmla="*/ 2271540 w 5260975"/>
              <a:gd name="connsiteY73" fmla="*/ 1356120 h 1410656"/>
              <a:gd name="connsiteX74" fmla="*/ 2226895 w 5260975"/>
              <a:gd name="connsiteY74" fmla="*/ 1354392 h 1410656"/>
              <a:gd name="connsiteX75" fmla="*/ 2210379 w 5260975"/>
              <a:gd name="connsiteY75" fmla="*/ 1356888 h 1410656"/>
              <a:gd name="connsiteX76" fmla="*/ 2168613 w 5260975"/>
              <a:gd name="connsiteY76" fmla="*/ 1357176 h 1410656"/>
              <a:gd name="connsiteX77" fmla="*/ 2131167 w 5260975"/>
              <a:gd name="connsiteY77" fmla="*/ 1355736 h 1410656"/>
              <a:gd name="connsiteX78" fmla="*/ 2095065 w 5260975"/>
              <a:gd name="connsiteY78" fmla="*/ 1356504 h 1410656"/>
              <a:gd name="connsiteX79" fmla="*/ 2069237 w 5260975"/>
              <a:gd name="connsiteY79" fmla="*/ 1359672 h 1410656"/>
              <a:gd name="connsiteX80" fmla="*/ 2041201 w 5260975"/>
              <a:gd name="connsiteY80" fmla="*/ 1361592 h 1410656"/>
              <a:gd name="connsiteX81" fmla="*/ 1963909 w 5260975"/>
              <a:gd name="connsiteY81" fmla="*/ 1373018 h 1410656"/>
              <a:gd name="connsiteX82" fmla="*/ 1949603 w 5260975"/>
              <a:gd name="connsiteY82" fmla="*/ 1370234 h 1410656"/>
              <a:gd name="connsiteX83" fmla="*/ 1868373 w 5260975"/>
              <a:gd name="connsiteY83" fmla="*/ 1367641 h 1410656"/>
              <a:gd name="connsiteX84" fmla="*/ 1850707 w 5260975"/>
              <a:gd name="connsiteY84" fmla="*/ 1367834 h 1410656"/>
              <a:gd name="connsiteX85" fmla="*/ 1803275 w 5260975"/>
              <a:gd name="connsiteY85" fmla="*/ 1356504 h 1410656"/>
              <a:gd name="connsiteX86" fmla="*/ 1730112 w 5260975"/>
              <a:gd name="connsiteY86" fmla="*/ 1374459 h 1410656"/>
              <a:gd name="connsiteX87" fmla="*/ 1661652 w 5260975"/>
              <a:gd name="connsiteY87" fmla="*/ 1396926 h 1410656"/>
              <a:gd name="connsiteX88" fmla="*/ 1653011 w 5260975"/>
              <a:gd name="connsiteY88" fmla="*/ 1399807 h 1410656"/>
              <a:gd name="connsiteX89" fmla="*/ 1628431 w 5260975"/>
              <a:gd name="connsiteY89" fmla="*/ 1404704 h 1410656"/>
              <a:gd name="connsiteX90" fmla="*/ 1597995 w 5260975"/>
              <a:gd name="connsiteY90" fmla="*/ 1406432 h 1410656"/>
              <a:gd name="connsiteX91" fmla="*/ 1559396 w 5260975"/>
              <a:gd name="connsiteY91" fmla="*/ 1410656 h 1410656"/>
              <a:gd name="connsiteX92" fmla="*/ 1528480 w 5260975"/>
              <a:gd name="connsiteY92" fmla="*/ 1405375 h 1410656"/>
              <a:gd name="connsiteX93" fmla="*/ 1485272 w 5260975"/>
              <a:gd name="connsiteY93" fmla="*/ 1397502 h 1410656"/>
              <a:gd name="connsiteX94" fmla="*/ 1444562 w 5260975"/>
              <a:gd name="connsiteY94" fmla="*/ 1390013 h 1410656"/>
              <a:gd name="connsiteX95" fmla="*/ 1431696 w 5260975"/>
              <a:gd name="connsiteY95" fmla="*/ 1398846 h 1410656"/>
              <a:gd name="connsiteX96" fmla="*/ 1411821 w 5260975"/>
              <a:gd name="connsiteY96" fmla="*/ 1406527 h 1410656"/>
              <a:gd name="connsiteX97" fmla="*/ 1389738 w 5260975"/>
              <a:gd name="connsiteY97" fmla="*/ 1397310 h 1410656"/>
              <a:gd name="connsiteX98" fmla="*/ 1338081 w 5260975"/>
              <a:gd name="connsiteY98" fmla="*/ 1378204 h 1410656"/>
              <a:gd name="connsiteX99" fmla="*/ 1305436 w 5260975"/>
              <a:gd name="connsiteY99" fmla="*/ 1377339 h 1410656"/>
              <a:gd name="connsiteX100" fmla="*/ 1234481 w 5260975"/>
              <a:gd name="connsiteY100" fmla="*/ 1369178 h 1410656"/>
              <a:gd name="connsiteX101" fmla="*/ 1188106 w 5260975"/>
              <a:gd name="connsiteY101" fmla="*/ 1357560 h 1410656"/>
              <a:gd name="connsiteX102" fmla="*/ 1154790 w 5260975"/>
              <a:gd name="connsiteY102" fmla="*/ 1344406 h 1410656"/>
              <a:gd name="connsiteX103" fmla="*/ 1107069 w 5260975"/>
              <a:gd name="connsiteY103" fmla="*/ 1327219 h 1410656"/>
              <a:gd name="connsiteX104" fmla="*/ 1059158 w 5260975"/>
              <a:gd name="connsiteY104" fmla="*/ 1318290 h 1410656"/>
              <a:gd name="connsiteX105" fmla="*/ 1024496 w 5260975"/>
              <a:gd name="connsiteY105" fmla="*/ 1307056 h 1410656"/>
              <a:gd name="connsiteX106" fmla="*/ 982153 w 5260975"/>
              <a:gd name="connsiteY106" fmla="*/ 1299374 h 1410656"/>
              <a:gd name="connsiteX107" fmla="*/ 946628 w 5260975"/>
              <a:gd name="connsiteY107" fmla="*/ 1299087 h 1410656"/>
              <a:gd name="connsiteX108" fmla="*/ 890939 w 5260975"/>
              <a:gd name="connsiteY108" fmla="*/ 1300431 h 1410656"/>
              <a:gd name="connsiteX109" fmla="*/ 822769 w 5260975"/>
              <a:gd name="connsiteY109" fmla="*/ 1277196 h 1410656"/>
              <a:gd name="connsiteX110" fmla="*/ 795212 w 5260975"/>
              <a:gd name="connsiteY110" fmla="*/ 1272010 h 1410656"/>
              <a:gd name="connsiteX111" fmla="*/ 769288 w 5260975"/>
              <a:gd name="connsiteY111" fmla="*/ 1269610 h 1410656"/>
              <a:gd name="connsiteX112" fmla="*/ 714271 w 5260975"/>
              <a:gd name="connsiteY112" fmla="*/ 1254152 h 1410656"/>
              <a:gd name="connsiteX113" fmla="*/ 691900 w 5260975"/>
              <a:gd name="connsiteY113" fmla="*/ 1249062 h 1410656"/>
              <a:gd name="connsiteX114" fmla="*/ 660598 w 5260975"/>
              <a:gd name="connsiteY114" fmla="*/ 1249159 h 1410656"/>
              <a:gd name="connsiteX115" fmla="*/ 603662 w 5260975"/>
              <a:gd name="connsiteY115" fmla="*/ 1242054 h 1410656"/>
              <a:gd name="connsiteX116" fmla="*/ 546821 w 5260975"/>
              <a:gd name="connsiteY116" fmla="*/ 1221314 h 1410656"/>
              <a:gd name="connsiteX117" fmla="*/ 522721 w 5260975"/>
              <a:gd name="connsiteY117" fmla="*/ 1223330 h 1410656"/>
              <a:gd name="connsiteX118" fmla="*/ 514080 w 5260975"/>
              <a:gd name="connsiteY118" fmla="*/ 1222851 h 1410656"/>
              <a:gd name="connsiteX119" fmla="*/ 436404 w 5260975"/>
              <a:gd name="connsiteY119" fmla="*/ 1211424 h 1410656"/>
              <a:gd name="connsiteX120" fmla="*/ 428626 w 5260975"/>
              <a:gd name="connsiteY120" fmla="*/ 1210177 h 1410656"/>
              <a:gd name="connsiteX121" fmla="*/ 392141 w 5260975"/>
              <a:gd name="connsiteY121" fmla="*/ 1199999 h 1410656"/>
              <a:gd name="connsiteX122" fmla="*/ 300157 w 5260975"/>
              <a:gd name="connsiteY122" fmla="*/ 1193662 h 1410656"/>
              <a:gd name="connsiteX123" fmla="*/ 294493 w 5260975"/>
              <a:gd name="connsiteY123" fmla="*/ 1192894 h 1410656"/>
              <a:gd name="connsiteX124" fmla="*/ 263671 w 5260975"/>
              <a:gd name="connsiteY124" fmla="*/ 1197982 h 1410656"/>
              <a:gd name="connsiteX125" fmla="*/ 248406 w 5260975"/>
              <a:gd name="connsiteY125" fmla="*/ 1205184 h 1410656"/>
              <a:gd name="connsiteX126" fmla="*/ 224594 w 5260975"/>
              <a:gd name="connsiteY126" fmla="*/ 1212673 h 1410656"/>
              <a:gd name="connsiteX127" fmla="*/ 200398 w 5260975"/>
              <a:gd name="connsiteY127" fmla="*/ 1215458 h 1410656"/>
              <a:gd name="connsiteX128" fmla="*/ 159783 w 5260975"/>
              <a:gd name="connsiteY128" fmla="*/ 1204127 h 1410656"/>
              <a:gd name="connsiteX129" fmla="*/ 144997 w 5260975"/>
              <a:gd name="connsiteY129" fmla="*/ 1202975 h 1410656"/>
              <a:gd name="connsiteX130" fmla="*/ 112064 w 5260975"/>
              <a:gd name="connsiteY130" fmla="*/ 1197503 h 1410656"/>
              <a:gd name="connsiteX131" fmla="*/ 83259 w 5260975"/>
              <a:gd name="connsiteY131" fmla="*/ 1197887 h 1410656"/>
              <a:gd name="connsiteX132" fmla="*/ 60120 w 5260975"/>
              <a:gd name="connsiteY132" fmla="*/ 1206624 h 1410656"/>
              <a:gd name="connsiteX133" fmla="*/ 26514 w 5260975"/>
              <a:gd name="connsiteY133" fmla="*/ 1208352 h 1410656"/>
              <a:gd name="connsiteX134" fmla="*/ 4814 w 5260975"/>
              <a:gd name="connsiteY134" fmla="*/ 1202015 h 1410656"/>
              <a:gd name="connsiteX135" fmla="*/ 398 w 5260975"/>
              <a:gd name="connsiteY135" fmla="*/ 1201152 h 1410656"/>
              <a:gd name="connsiteX136" fmla="*/ 0 w 5260975"/>
              <a:gd name="connsiteY136" fmla="*/ 1201150 h 1410656"/>
              <a:gd name="connsiteX137" fmla="*/ 0 w 5260975"/>
              <a:gd name="connsiteY137" fmla="*/ 1004512 h 1410656"/>
              <a:gd name="connsiteX138" fmla="*/ 30355 w 5260975"/>
              <a:gd name="connsiteY138" fmla="*/ 1002784 h 1410656"/>
              <a:gd name="connsiteX139" fmla="*/ 52151 w 5260975"/>
              <a:gd name="connsiteY139" fmla="*/ 997695 h 1410656"/>
              <a:gd name="connsiteX140" fmla="*/ 64248 w 5260975"/>
              <a:gd name="connsiteY140" fmla="*/ 994430 h 1410656"/>
              <a:gd name="connsiteX141" fmla="*/ 126370 w 5260975"/>
              <a:gd name="connsiteY141" fmla="*/ 985405 h 1410656"/>
              <a:gd name="connsiteX142" fmla="*/ 154022 w 5260975"/>
              <a:gd name="connsiteY142" fmla="*/ 975708 h 1410656"/>
              <a:gd name="connsiteX143" fmla="*/ 161512 w 5260975"/>
              <a:gd name="connsiteY143" fmla="*/ 974268 h 1410656"/>
              <a:gd name="connsiteX144" fmla="*/ 202510 w 5260975"/>
              <a:gd name="connsiteY144" fmla="*/ 978300 h 1410656"/>
              <a:gd name="connsiteX145" fmla="*/ 233235 w 5260975"/>
              <a:gd name="connsiteY145" fmla="*/ 993950 h 1410656"/>
              <a:gd name="connsiteX146" fmla="*/ 239188 w 5260975"/>
              <a:gd name="connsiteY146" fmla="*/ 999231 h 1410656"/>
              <a:gd name="connsiteX147" fmla="*/ 324834 w 5260975"/>
              <a:gd name="connsiteY147" fmla="*/ 997407 h 1410656"/>
              <a:gd name="connsiteX148" fmla="*/ 337987 w 5260975"/>
              <a:gd name="connsiteY148" fmla="*/ 995198 h 1410656"/>
              <a:gd name="connsiteX149" fmla="*/ 401550 w 5260975"/>
              <a:gd name="connsiteY149" fmla="*/ 1004416 h 1410656"/>
              <a:gd name="connsiteX150" fmla="*/ 420081 w 5260975"/>
              <a:gd name="connsiteY150" fmla="*/ 1006240 h 1410656"/>
              <a:gd name="connsiteX151" fmla="*/ 486523 w 5260975"/>
              <a:gd name="connsiteY151" fmla="*/ 1014498 h 1410656"/>
              <a:gd name="connsiteX152" fmla="*/ 495932 w 5260975"/>
              <a:gd name="connsiteY152" fmla="*/ 1006817 h 1410656"/>
              <a:gd name="connsiteX153" fmla="*/ 523009 w 5260975"/>
              <a:gd name="connsiteY153" fmla="*/ 987517 h 1410656"/>
              <a:gd name="connsiteX154" fmla="*/ 576393 w 5260975"/>
              <a:gd name="connsiteY154" fmla="*/ 970427 h 1410656"/>
              <a:gd name="connsiteX155" fmla="*/ 590892 w 5260975"/>
              <a:gd name="connsiteY155" fmla="*/ 971387 h 1410656"/>
              <a:gd name="connsiteX156" fmla="*/ 627569 w 5260975"/>
              <a:gd name="connsiteY156" fmla="*/ 999904 h 1410656"/>
              <a:gd name="connsiteX157" fmla="*/ 645429 w 5260975"/>
              <a:gd name="connsiteY157" fmla="*/ 1011329 h 1410656"/>
              <a:gd name="connsiteX158" fmla="*/ 696125 w 5260975"/>
              <a:gd name="connsiteY158" fmla="*/ 1032356 h 1410656"/>
              <a:gd name="connsiteX159" fmla="*/ 700349 w 5260975"/>
              <a:gd name="connsiteY159" fmla="*/ 1036197 h 1410656"/>
              <a:gd name="connsiteX160" fmla="*/ 737795 w 5260975"/>
              <a:gd name="connsiteY160" fmla="*/ 1081804 h 1410656"/>
              <a:gd name="connsiteX161" fmla="*/ 746244 w 5260975"/>
              <a:gd name="connsiteY161" fmla="*/ 1089581 h 1410656"/>
              <a:gd name="connsiteX162" fmla="*/ 756422 w 5260975"/>
              <a:gd name="connsiteY162" fmla="*/ 1101680 h 1410656"/>
              <a:gd name="connsiteX163" fmla="*/ 788202 w 5260975"/>
              <a:gd name="connsiteY163" fmla="*/ 1125108 h 1410656"/>
              <a:gd name="connsiteX164" fmla="*/ 827569 w 5260975"/>
              <a:gd name="connsiteY164" fmla="*/ 1132596 h 1410656"/>
              <a:gd name="connsiteX165" fmla="*/ 875097 w 5260975"/>
              <a:gd name="connsiteY165" fmla="*/ 1144022 h 1410656"/>
              <a:gd name="connsiteX166" fmla="*/ 894972 w 5260975"/>
              <a:gd name="connsiteY166" fmla="*/ 1151704 h 1410656"/>
              <a:gd name="connsiteX167" fmla="*/ 948260 w 5260975"/>
              <a:gd name="connsiteY167" fmla="*/ 1166298 h 1410656"/>
              <a:gd name="connsiteX168" fmla="*/ 986282 w 5260975"/>
              <a:gd name="connsiteY168" fmla="*/ 1178588 h 1410656"/>
              <a:gd name="connsiteX169" fmla="*/ 1041107 w 5260975"/>
              <a:gd name="connsiteY169" fmla="*/ 1185789 h 1410656"/>
              <a:gd name="connsiteX170" fmla="*/ 1067703 w 5260975"/>
              <a:gd name="connsiteY170" fmla="*/ 1186076 h 1410656"/>
              <a:gd name="connsiteX171" fmla="*/ 1116574 w 5260975"/>
              <a:gd name="connsiteY171" fmla="*/ 1222946 h 1410656"/>
              <a:gd name="connsiteX172" fmla="*/ 1155557 w 5260975"/>
              <a:gd name="connsiteY172" fmla="*/ 1247335 h 1410656"/>
              <a:gd name="connsiteX173" fmla="*/ 1196556 w 5260975"/>
              <a:gd name="connsiteY173" fmla="*/ 1235525 h 1410656"/>
              <a:gd name="connsiteX174" fmla="*/ 1207693 w 5260975"/>
              <a:gd name="connsiteY174" fmla="*/ 1224387 h 1410656"/>
              <a:gd name="connsiteX175" fmla="*/ 1274904 w 5260975"/>
              <a:gd name="connsiteY175" fmla="*/ 1213826 h 1410656"/>
              <a:gd name="connsiteX176" fmla="*/ 1370919 w 5260975"/>
              <a:gd name="connsiteY176" fmla="*/ 1213442 h 1410656"/>
              <a:gd name="connsiteX177" fmla="*/ 1530593 w 5260975"/>
              <a:gd name="connsiteY177" fmla="*/ 1189437 h 1410656"/>
              <a:gd name="connsiteX178" fmla="*/ 1558436 w 5260975"/>
              <a:gd name="connsiteY178" fmla="*/ 1178299 h 1410656"/>
              <a:gd name="connsiteX179" fmla="*/ 1589737 w 5260975"/>
              <a:gd name="connsiteY179" fmla="*/ 1175515 h 1410656"/>
              <a:gd name="connsiteX180" fmla="*/ 1601740 w 5260975"/>
              <a:gd name="connsiteY180" fmla="*/ 1182333 h 1410656"/>
              <a:gd name="connsiteX181" fmla="*/ 1654259 w 5260975"/>
              <a:gd name="connsiteY181" fmla="*/ 1192510 h 1410656"/>
              <a:gd name="connsiteX182" fmla="*/ 1664246 w 5260975"/>
              <a:gd name="connsiteY182" fmla="*/ 1192702 h 1410656"/>
              <a:gd name="connsiteX183" fmla="*/ 1698427 w 5260975"/>
              <a:gd name="connsiteY183" fmla="*/ 1188381 h 1410656"/>
              <a:gd name="connsiteX184" fmla="*/ 1730112 w 5260975"/>
              <a:gd name="connsiteY184" fmla="*/ 1185885 h 1410656"/>
              <a:gd name="connsiteX185" fmla="*/ 1809996 w 5260975"/>
              <a:gd name="connsiteY185" fmla="*/ 1194046 h 1410656"/>
              <a:gd name="connsiteX186" fmla="*/ 1871254 w 5260975"/>
              <a:gd name="connsiteY186" fmla="*/ 1192126 h 1410656"/>
              <a:gd name="connsiteX187" fmla="*/ 1899482 w 5260975"/>
              <a:gd name="connsiteY187" fmla="*/ 1194046 h 1410656"/>
              <a:gd name="connsiteX188" fmla="*/ 1915420 w 5260975"/>
              <a:gd name="connsiteY188" fmla="*/ 1196927 h 1410656"/>
              <a:gd name="connsiteX189" fmla="*/ 1951522 w 5260975"/>
              <a:gd name="connsiteY189" fmla="*/ 1216994 h 1410656"/>
              <a:gd name="connsiteX190" fmla="*/ 1971302 w 5260975"/>
              <a:gd name="connsiteY190" fmla="*/ 1221507 h 1410656"/>
              <a:gd name="connsiteX191" fmla="*/ 2030831 w 5260975"/>
              <a:gd name="connsiteY191" fmla="*/ 1221123 h 1410656"/>
              <a:gd name="connsiteX192" fmla="*/ 2120125 w 5260975"/>
              <a:gd name="connsiteY192" fmla="*/ 1190878 h 1410656"/>
              <a:gd name="connsiteX193" fmla="*/ 2129439 w 5260975"/>
              <a:gd name="connsiteY193" fmla="*/ 1186845 h 1410656"/>
              <a:gd name="connsiteX194" fmla="*/ 2174854 w 5260975"/>
              <a:gd name="connsiteY194" fmla="*/ 1181852 h 1410656"/>
              <a:gd name="connsiteX195" fmla="*/ 2205674 w 5260975"/>
              <a:gd name="connsiteY195" fmla="*/ 1188669 h 1410656"/>
              <a:gd name="connsiteX196" fmla="*/ 2247634 w 5260975"/>
              <a:gd name="connsiteY196" fmla="*/ 1202784 h 1410656"/>
              <a:gd name="connsiteX197" fmla="*/ 2285367 w 5260975"/>
              <a:gd name="connsiteY197" fmla="*/ 1214594 h 1410656"/>
              <a:gd name="connsiteX198" fmla="*/ 2312827 w 5260975"/>
              <a:gd name="connsiteY198" fmla="*/ 1227939 h 1410656"/>
              <a:gd name="connsiteX199" fmla="*/ 2375622 w 5260975"/>
              <a:gd name="connsiteY199" fmla="*/ 1237733 h 1410656"/>
              <a:gd name="connsiteX200" fmla="*/ 2382151 w 5260975"/>
              <a:gd name="connsiteY200" fmla="*/ 1239365 h 1410656"/>
              <a:gd name="connsiteX201" fmla="*/ 2429390 w 5260975"/>
              <a:gd name="connsiteY201" fmla="*/ 1227459 h 1410656"/>
              <a:gd name="connsiteX202" fmla="*/ 2486134 w 5260975"/>
              <a:gd name="connsiteY202" fmla="*/ 1215362 h 1410656"/>
              <a:gd name="connsiteX203" fmla="*/ 2506394 w 5260975"/>
              <a:gd name="connsiteY203" fmla="*/ 1219490 h 1410656"/>
              <a:gd name="connsiteX204" fmla="*/ 2534142 w 5260975"/>
              <a:gd name="connsiteY204" fmla="*/ 1225347 h 1410656"/>
              <a:gd name="connsiteX205" fmla="*/ 2559874 w 5260975"/>
              <a:gd name="connsiteY205" fmla="*/ 1222275 h 1410656"/>
              <a:gd name="connsiteX206" fmla="*/ 2575525 w 5260975"/>
              <a:gd name="connsiteY206" fmla="*/ 1221987 h 1410656"/>
              <a:gd name="connsiteX207" fmla="*/ 2646960 w 5260975"/>
              <a:gd name="connsiteY207" fmla="*/ 1257896 h 1410656"/>
              <a:gd name="connsiteX208" fmla="*/ 2665107 w 5260975"/>
              <a:gd name="connsiteY208" fmla="*/ 1260873 h 1410656"/>
              <a:gd name="connsiteX209" fmla="*/ 2675381 w 5260975"/>
              <a:gd name="connsiteY209" fmla="*/ 1265290 h 1410656"/>
              <a:gd name="connsiteX210" fmla="*/ 2737311 w 5260975"/>
              <a:gd name="connsiteY210" fmla="*/ 1309841 h 1410656"/>
              <a:gd name="connsiteX211" fmla="*/ 2763619 w 5260975"/>
              <a:gd name="connsiteY211" fmla="*/ 1318866 h 1410656"/>
              <a:gd name="connsiteX212" fmla="*/ 2792519 w 5260975"/>
              <a:gd name="connsiteY212" fmla="*/ 1317041 h 1410656"/>
              <a:gd name="connsiteX213" fmla="*/ 2809226 w 5260975"/>
              <a:gd name="connsiteY213" fmla="*/ 1313777 h 1410656"/>
              <a:gd name="connsiteX214" fmla="*/ 2850705 w 5260975"/>
              <a:gd name="connsiteY214" fmla="*/ 1285452 h 1410656"/>
              <a:gd name="connsiteX215" fmla="*/ 2874324 w 5260975"/>
              <a:gd name="connsiteY215" fmla="*/ 1286413 h 1410656"/>
              <a:gd name="connsiteX216" fmla="*/ 2911194 w 5260975"/>
              <a:gd name="connsiteY216" fmla="*/ 1305903 h 1410656"/>
              <a:gd name="connsiteX217" fmla="*/ 2978116 w 5260975"/>
              <a:gd name="connsiteY217" fmla="*/ 1314641 h 1410656"/>
              <a:gd name="connsiteX218" fmla="*/ 3012106 w 5260975"/>
              <a:gd name="connsiteY218" fmla="*/ 1287373 h 1410656"/>
              <a:gd name="connsiteX219" fmla="*/ 3029676 w 5260975"/>
              <a:gd name="connsiteY219" fmla="*/ 1261161 h 1410656"/>
              <a:gd name="connsiteX220" fmla="*/ 3080469 w 5260975"/>
              <a:gd name="connsiteY220" fmla="*/ 1230724 h 1410656"/>
              <a:gd name="connsiteX221" fmla="*/ 3092567 w 5260975"/>
              <a:gd name="connsiteY221" fmla="*/ 1242054 h 1410656"/>
              <a:gd name="connsiteX222" fmla="*/ 3129821 w 5260975"/>
              <a:gd name="connsiteY222" fmla="*/ 1246855 h 1410656"/>
              <a:gd name="connsiteX223" fmla="*/ 3170147 w 5260975"/>
              <a:gd name="connsiteY223" fmla="*/ 1246471 h 1410656"/>
              <a:gd name="connsiteX224" fmla="*/ 3240429 w 5260975"/>
              <a:gd name="connsiteY224" fmla="*/ 1251559 h 1410656"/>
              <a:gd name="connsiteX225" fmla="*/ 3287189 w 5260975"/>
              <a:gd name="connsiteY225" fmla="*/ 1222466 h 1410656"/>
              <a:gd name="connsiteX226" fmla="*/ 3305049 w 5260975"/>
              <a:gd name="connsiteY226" fmla="*/ 1210465 h 1410656"/>
              <a:gd name="connsiteX227" fmla="*/ 3321755 w 5260975"/>
              <a:gd name="connsiteY227" fmla="*/ 1202784 h 1410656"/>
              <a:gd name="connsiteX228" fmla="*/ 3341055 w 5260975"/>
              <a:gd name="connsiteY228" fmla="*/ 1198463 h 1410656"/>
              <a:gd name="connsiteX229" fmla="*/ 3387621 w 5260975"/>
              <a:gd name="connsiteY229" fmla="*/ 1182140 h 1410656"/>
              <a:gd name="connsiteX230" fmla="*/ 3413161 w 5260975"/>
              <a:gd name="connsiteY230" fmla="*/ 1166105 h 1410656"/>
              <a:gd name="connsiteX231" fmla="*/ 3470579 w 5260975"/>
              <a:gd name="connsiteY231" fmla="*/ 1150647 h 1410656"/>
              <a:gd name="connsiteX232" fmla="*/ 3509657 w 5260975"/>
              <a:gd name="connsiteY232" fmla="*/ 1136821 h 1410656"/>
              <a:gd name="connsiteX233" fmla="*/ 3550847 w 5260975"/>
              <a:gd name="connsiteY233" fmla="*/ 1113009 h 1410656"/>
              <a:gd name="connsiteX234" fmla="*/ 3556608 w 5260975"/>
              <a:gd name="connsiteY234" fmla="*/ 1109361 h 1410656"/>
              <a:gd name="connsiteX235" fmla="*/ 3570435 w 5260975"/>
              <a:gd name="connsiteY235" fmla="*/ 1093710 h 1410656"/>
              <a:gd name="connsiteX236" fmla="*/ 3590501 w 5260975"/>
              <a:gd name="connsiteY236" fmla="*/ 1039846 h 1410656"/>
              <a:gd name="connsiteX237" fmla="*/ 3596263 w 5260975"/>
              <a:gd name="connsiteY237" fmla="*/ 1028900 h 1410656"/>
              <a:gd name="connsiteX238" fmla="*/ 3648591 w 5260975"/>
              <a:gd name="connsiteY238" fmla="*/ 992030 h 1410656"/>
              <a:gd name="connsiteX239" fmla="*/ 3667986 w 5260975"/>
              <a:gd name="connsiteY239" fmla="*/ 995487 h 1410656"/>
              <a:gd name="connsiteX240" fmla="*/ 3689397 w 5260975"/>
              <a:gd name="connsiteY240" fmla="*/ 1007585 h 1410656"/>
              <a:gd name="connsiteX241" fmla="*/ 3736349 w 5260975"/>
              <a:gd name="connsiteY241" fmla="*/ 1010753 h 1410656"/>
              <a:gd name="connsiteX242" fmla="*/ 3753919 w 5260975"/>
              <a:gd name="connsiteY242" fmla="*/ 1004513 h 1410656"/>
              <a:gd name="connsiteX243" fmla="*/ 3784643 w 5260975"/>
              <a:gd name="connsiteY243" fmla="*/ 987710 h 1410656"/>
              <a:gd name="connsiteX244" fmla="*/ 3808359 w 5260975"/>
              <a:gd name="connsiteY244" fmla="*/ 961689 h 1410656"/>
              <a:gd name="connsiteX245" fmla="*/ 3842829 w 5260975"/>
              <a:gd name="connsiteY245" fmla="*/ 918674 h 1410656"/>
              <a:gd name="connsiteX246" fmla="*/ 3908983 w 5260975"/>
              <a:gd name="connsiteY246" fmla="*/ 902256 h 1410656"/>
              <a:gd name="connsiteX247" fmla="*/ 3934428 w 5260975"/>
              <a:gd name="connsiteY247" fmla="*/ 896783 h 1410656"/>
              <a:gd name="connsiteX248" fmla="*/ 4026987 w 5260975"/>
              <a:gd name="connsiteY248" fmla="*/ 873835 h 1410656"/>
              <a:gd name="connsiteX249" fmla="*/ 4035051 w 5260975"/>
              <a:gd name="connsiteY249" fmla="*/ 873067 h 1410656"/>
              <a:gd name="connsiteX250" fmla="*/ 4099189 w 5260975"/>
              <a:gd name="connsiteY250" fmla="*/ 846664 h 1410656"/>
              <a:gd name="connsiteX251" fmla="*/ 4114647 w 5260975"/>
              <a:gd name="connsiteY251" fmla="*/ 840134 h 1410656"/>
              <a:gd name="connsiteX252" fmla="*/ 4133563 w 5260975"/>
              <a:gd name="connsiteY252" fmla="*/ 823427 h 1410656"/>
              <a:gd name="connsiteX253" fmla="*/ 4151039 w 5260975"/>
              <a:gd name="connsiteY253" fmla="*/ 776284 h 1410656"/>
              <a:gd name="connsiteX254" fmla="*/ 4171489 w 5260975"/>
              <a:gd name="connsiteY254" fmla="*/ 754776 h 1410656"/>
              <a:gd name="connsiteX255" fmla="*/ 4186372 w 5260975"/>
              <a:gd name="connsiteY255" fmla="*/ 741718 h 1410656"/>
              <a:gd name="connsiteX256" fmla="*/ 4199429 w 5260975"/>
              <a:gd name="connsiteY256" fmla="*/ 721940 h 1410656"/>
              <a:gd name="connsiteX257" fmla="*/ 4212487 w 5260975"/>
              <a:gd name="connsiteY257" fmla="*/ 674604 h 1410656"/>
              <a:gd name="connsiteX258" fmla="*/ 4232555 w 5260975"/>
              <a:gd name="connsiteY258" fmla="*/ 632645 h 1410656"/>
              <a:gd name="connsiteX259" fmla="*/ 4268657 w 5260975"/>
              <a:gd name="connsiteY259" fmla="*/ 609410 h 1410656"/>
              <a:gd name="connsiteX260" fmla="*/ 4291028 w 5260975"/>
              <a:gd name="connsiteY260" fmla="*/ 597216 h 1410656"/>
              <a:gd name="connsiteX261" fmla="*/ 4379651 w 5260975"/>
              <a:gd name="connsiteY261" fmla="*/ 609506 h 1410656"/>
              <a:gd name="connsiteX262" fmla="*/ 4440139 w 5260975"/>
              <a:gd name="connsiteY262" fmla="*/ 621507 h 1410656"/>
              <a:gd name="connsiteX263" fmla="*/ 4460015 w 5260975"/>
              <a:gd name="connsiteY263" fmla="*/ 616899 h 1410656"/>
              <a:gd name="connsiteX264" fmla="*/ 4516183 w 5260975"/>
              <a:gd name="connsiteY264" fmla="*/ 577724 h 1410656"/>
              <a:gd name="connsiteX265" fmla="*/ 4571681 w 5260975"/>
              <a:gd name="connsiteY265" fmla="*/ 560250 h 1410656"/>
              <a:gd name="connsiteX266" fmla="*/ 4613447 w 5260975"/>
              <a:gd name="connsiteY266" fmla="*/ 555257 h 1410656"/>
              <a:gd name="connsiteX267" fmla="*/ 4649355 w 5260975"/>
              <a:gd name="connsiteY267" fmla="*/ 551417 h 1410656"/>
              <a:gd name="connsiteX268" fmla="*/ 4692467 w 5260975"/>
              <a:gd name="connsiteY268" fmla="*/ 540663 h 1410656"/>
              <a:gd name="connsiteX269" fmla="*/ 4716855 w 5260975"/>
              <a:gd name="connsiteY269" fmla="*/ 528949 h 1410656"/>
              <a:gd name="connsiteX270" fmla="*/ 4755645 w 5260975"/>
              <a:gd name="connsiteY270" fmla="*/ 512147 h 1410656"/>
              <a:gd name="connsiteX271" fmla="*/ 4795395 w 5260975"/>
              <a:gd name="connsiteY271" fmla="*/ 490351 h 1410656"/>
              <a:gd name="connsiteX272" fmla="*/ 4825928 w 5260975"/>
              <a:gd name="connsiteY272" fmla="*/ 459818 h 1410656"/>
              <a:gd name="connsiteX273" fmla="*/ 4842347 w 5260975"/>
              <a:gd name="connsiteY273" fmla="*/ 434086 h 1410656"/>
              <a:gd name="connsiteX274" fmla="*/ 4890451 w 5260975"/>
              <a:gd name="connsiteY274" fmla="*/ 397216 h 1410656"/>
              <a:gd name="connsiteX275" fmla="*/ 4933945 w 5260975"/>
              <a:gd name="connsiteY275" fmla="*/ 327701 h 1410656"/>
              <a:gd name="connsiteX276" fmla="*/ 4961214 w 5260975"/>
              <a:gd name="connsiteY276" fmla="*/ 298801 h 1410656"/>
              <a:gd name="connsiteX277" fmla="*/ 4976672 w 5260975"/>
              <a:gd name="connsiteY277" fmla="*/ 290639 h 1410656"/>
              <a:gd name="connsiteX278" fmla="*/ 5002979 w 5260975"/>
              <a:gd name="connsiteY278" fmla="*/ 270573 h 1410656"/>
              <a:gd name="connsiteX279" fmla="*/ 5018535 w 5260975"/>
              <a:gd name="connsiteY279" fmla="*/ 255690 h 1410656"/>
              <a:gd name="connsiteX280" fmla="*/ 5061069 w 5260975"/>
              <a:gd name="connsiteY280" fmla="*/ 200961 h 1410656"/>
              <a:gd name="connsiteX281" fmla="*/ 5074127 w 5260975"/>
              <a:gd name="connsiteY281" fmla="*/ 184735 h 1410656"/>
              <a:gd name="connsiteX282" fmla="*/ 5101108 w 5260975"/>
              <a:gd name="connsiteY282" fmla="*/ 156891 h 1410656"/>
              <a:gd name="connsiteX283" fmla="*/ 5112918 w 5260975"/>
              <a:gd name="connsiteY283" fmla="*/ 148441 h 1410656"/>
              <a:gd name="connsiteX284" fmla="*/ 5133753 w 5260975"/>
              <a:gd name="connsiteY284" fmla="*/ 125782 h 1410656"/>
              <a:gd name="connsiteX285" fmla="*/ 5183393 w 5260975"/>
              <a:gd name="connsiteY285" fmla="*/ 66348 h 1410656"/>
              <a:gd name="connsiteX286" fmla="*/ 5204709 w 5260975"/>
              <a:gd name="connsiteY286" fmla="*/ 33030 h 1410656"/>
              <a:gd name="connsiteX287" fmla="*/ 5247243 w 5260975"/>
              <a:gd name="connsiteY287" fmla="*/ 8451 h 141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5260975" h="1410656">
                <a:moveTo>
                  <a:pt x="5260975" y="0"/>
                </a:moveTo>
                <a:lnTo>
                  <a:pt x="5260975" y="221634"/>
                </a:lnTo>
                <a:lnTo>
                  <a:pt x="5226503" y="237063"/>
                </a:lnTo>
                <a:cubicBezTo>
                  <a:pt x="5219783" y="239848"/>
                  <a:pt x="5212389" y="241384"/>
                  <a:pt x="5206341" y="245128"/>
                </a:cubicBezTo>
                <a:cubicBezTo>
                  <a:pt x="5178495" y="262219"/>
                  <a:pt x="5151515" y="280654"/>
                  <a:pt x="5123287" y="297073"/>
                </a:cubicBezTo>
                <a:cubicBezTo>
                  <a:pt x="5094195" y="314067"/>
                  <a:pt x="5068175" y="334134"/>
                  <a:pt x="5048107" y="361307"/>
                </a:cubicBezTo>
                <a:cubicBezTo>
                  <a:pt x="5029480" y="386559"/>
                  <a:pt x="5011429" y="412194"/>
                  <a:pt x="4992899" y="437542"/>
                </a:cubicBezTo>
                <a:cubicBezTo>
                  <a:pt x="4988194" y="443975"/>
                  <a:pt x="4983873" y="451561"/>
                  <a:pt x="4977440" y="455690"/>
                </a:cubicBezTo>
                <a:cubicBezTo>
                  <a:pt x="4964094" y="464331"/>
                  <a:pt x="4949499" y="471340"/>
                  <a:pt x="4935193" y="478445"/>
                </a:cubicBezTo>
                <a:cubicBezTo>
                  <a:pt x="4922903" y="484494"/>
                  <a:pt x="4909845" y="489006"/>
                  <a:pt x="4897844" y="495535"/>
                </a:cubicBezTo>
                <a:cubicBezTo>
                  <a:pt x="4888243" y="500721"/>
                  <a:pt x="4879697" y="507922"/>
                  <a:pt x="4870767" y="514451"/>
                </a:cubicBezTo>
                <a:cubicBezTo>
                  <a:pt x="4862990" y="520115"/>
                  <a:pt x="4854445" y="525012"/>
                  <a:pt x="4847916" y="531830"/>
                </a:cubicBezTo>
                <a:cubicBezTo>
                  <a:pt x="4831977" y="548344"/>
                  <a:pt x="4815942" y="564571"/>
                  <a:pt x="4796163" y="576765"/>
                </a:cubicBezTo>
                <a:cubicBezTo>
                  <a:pt x="4776672" y="588862"/>
                  <a:pt x="4758237" y="602401"/>
                  <a:pt x="4738843" y="614691"/>
                </a:cubicBezTo>
                <a:cubicBezTo>
                  <a:pt x="4719831" y="626693"/>
                  <a:pt x="4702645" y="639846"/>
                  <a:pt x="4692755" y="661162"/>
                </a:cubicBezTo>
                <a:cubicBezTo>
                  <a:pt x="4688339" y="670571"/>
                  <a:pt x="4682097" y="680845"/>
                  <a:pt x="4673744" y="686318"/>
                </a:cubicBezTo>
                <a:cubicBezTo>
                  <a:pt x="4661838" y="694095"/>
                  <a:pt x="4646764" y="696880"/>
                  <a:pt x="4633801" y="703505"/>
                </a:cubicBezTo>
                <a:cubicBezTo>
                  <a:pt x="4618535" y="711282"/>
                  <a:pt x="4600869" y="718003"/>
                  <a:pt x="4590499" y="730389"/>
                </a:cubicBezTo>
                <a:cubicBezTo>
                  <a:pt x="4581281" y="741431"/>
                  <a:pt x="4571968" y="750072"/>
                  <a:pt x="4559773" y="757081"/>
                </a:cubicBezTo>
                <a:cubicBezTo>
                  <a:pt x="4551229" y="761978"/>
                  <a:pt x="4544892" y="770907"/>
                  <a:pt x="4536059" y="774940"/>
                </a:cubicBezTo>
                <a:cubicBezTo>
                  <a:pt x="4524441" y="780317"/>
                  <a:pt x="4512727" y="784542"/>
                  <a:pt x="4502549" y="792895"/>
                </a:cubicBezTo>
                <a:cubicBezTo>
                  <a:pt x="4491987" y="801536"/>
                  <a:pt x="4479986" y="808353"/>
                  <a:pt x="4468944" y="816419"/>
                </a:cubicBezTo>
                <a:cubicBezTo>
                  <a:pt x="4463087" y="820739"/>
                  <a:pt x="4458286" y="826404"/>
                  <a:pt x="4452622" y="830917"/>
                </a:cubicBezTo>
                <a:cubicBezTo>
                  <a:pt x="4442252" y="839174"/>
                  <a:pt x="4431690" y="847239"/>
                  <a:pt x="4421032" y="855016"/>
                </a:cubicBezTo>
                <a:cubicBezTo>
                  <a:pt x="4410375" y="862794"/>
                  <a:pt x="4400197" y="871819"/>
                  <a:pt x="4388483" y="877484"/>
                </a:cubicBezTo>
                <a:cubicBezTo>
                  <a:pt x="4368513" y="887086"/>
                  <a:pt x="4346717" y="892847"/>
                  <a:pt x="4327321" y="903216"/>
                </a:cubicBezTo>
                <a:cubicBezTo>
                  <a:pt x="4307639" y="913777"/>
                  <a:pt x="4289107" y="927028"/>
                  <a:pt x="4271633" y="941046"/>
                </a:cubicBezTo>
                <a:cubicBezTo>
                  <a:pt x="4257807" y="952088"/>
                  <a:pt x="4244845" y="963034"/>
                  <a:pt x="4227465" y="968698"/>
                </a:cubicBezTo>
                <a:cubicBezTo>
                  <a:pt x="4217768" y="971867"/>
                  <a:pt x="4207591" y="978780"/>
                  <a:pt x="4201733" y="986846"/>
                </a:cubicBezTo>
                <a:cubicBezTo>
                  <a:pt x="4189059" y="1004416"/>
                  <a:pt x="4172833" y="1016802"/>
                  <a:pt x="4154494" y="1027364"/>
                </a:cubicBezTo>
                <a:cubicBezTo>
                  <a:pt x="4130010" y="1041574"/>
                  <a:pt x="4105814" y="1056072"/>
                  <a:pt x="4081234" y="1069994"/>
                </a:cubicBezTo>
                <a:cubicBezTo>
                  <a:pt x="4066737" y="1078252"/>
                  <a:pt x="4052335" y="1086989"/>
                  <a:pt x="4036971" y="1093038"/>
                </a:cubicBezTo>
                <a:cubicBezTo>
                  <a:pt x="4005575" y="1105520"/>
                  <a:pt x="3973410" y="1116177"/>
                  <a:pt x="3941725" y="1127796"/>
                </a:cubicBezTo>
                <a:cubicBezTo>
                  <a:pt x="3931355" y="1131540"/>
                  <a:pt x="3921561" y="1136917"/>
                  <a:pt x="3910999" y="1140182"/>
                </a:cubicBezTo>
                <a:cubicBezTo>
                  <a:pt x="3899573" y="1143734"/>
                  <a:pt x="3887285" y="1144790"/>
                  <a:pt x="3875859" y="1148343"/>
                </a:cubicBezTo>
                <a:cubicBezTo>
                  <a:pt x="3856847" y="1154199"/>
                  <a:pt x="3838412" y="1161689"/>
                  <a:pt x="3819401" y="1167642"/>
                </a:cubicBezTo>
                <a:cubicBezTo>
                  <a:pt x="3782723" y="1179068"/>
                  <a:pt x="3745949" y="1190014"/>
                  <a:pt x="3709176" y="1200863"/>
                </a:cubicBezTo>
                <a:cubicBezTo>
                  <a:pt x="3701303" y="1203168"/>
                  <a:pt x="3692757" y="1203456"/>
                  <a:pt x="3684981" y="1205952"/>
                </a:cubicBezTo>
                <a:cubicBezTo>
                  <a:pt x="3664337" y="1212673"/>
                  <a:pt x="3643789" y="1219970"/>
                  <a:pt x="3623338" y="1227363"/>
                </a:cubicBezTo>
                <a:cubicBezTo>
                  <a:pt x="3610953" y="1231876"/>
                  <a:pt x="3598854" y="1237445"/>
                  <a:pt x="3586373" y="1241765"/>
                </a:cubicBezTo>
                <a:cubicBezTo>
                  <a:pt x="3576387" y="1245222"/>
                  <a:pt x="3566113" y="1247910"/>
                  <a:pt x="3555743" y="1250023"/>
                </a:cubicBezTo>
                <a:cubicBezTo>
                  <a:pt x="3546814" y="1251848"/>
                  <a:pt x="3537501" y="1251655"/>
                  <a:pt x="3528667" y="1253864"/>
                </a:cubicBezTo>
                <a:cubicBezTo>
                  <a:pt x="3504759" y="1259816"/>
                  <a:pt x="3481140" y="1266538"/>
                  <a:pt x="3457424" y="1272874"/>
                </a:cubicBezTo>
                <a:cubicBezTo>
                  <a:pt x="3447919" y="1275371"/>
                  <a:pt x="3438221" y="1277196"/>
                  <a:pt x="3429003" y="1280364"/>
                </a:cubicBezTo>
                <a:cubicBezTo>
                  <a:pt x="3404327" y="1288717"/>
                  <a:pt x="3380036" y="1298222"/>
                  <a:pt x="3355264" y="1306096"/>
                </a:cubicBezTo>
                <a:cubicBezTo>
                  <a:pt x="3334717" y="1312625"/>
                  <a:pt x="3313593" y="1317329"/>
                  <a:pt x="3292757" y="1323090"/>
                </a:cubicBezTo>
                <a:cubicBezTo>
                  <a:pt x="3283924" y="1325587"/>
                  <a:pt x="3275475" y="1329140"/>
                  <a:pt x="3266643" y="1331251"/>
                </a:cubicBezTo>
                <a:cubicBezTo>
                  <a:pt x="3246863" y="1336053"/>
                  <a:pt x="3226796" y="1340085"/>
                  <a:pt x="3206921" y="1344886"/>
                </a:cubicBezTo>
                <a:cubicBezTo>
                  <a:pt x="3195590" y="1347670"/>
                  <a:pt x="3184645" y="1352663"/>
                  <a:pt x="3173123" y="1354488"/>
                </a:cubicBezTo>
                <a:cubicBezTo>
                  <a:pt x="3145759" y="1358808"/>
                  <a:pt x="3118203" y="1361880"/>
                  <a:pt x="3090646" y="1365337"/>
                </a:cubicBezTo>
                <a:cubicBezTo>
                  <a:pt x="3062227" y="1368889"/>
                  <a:pt x="3033902" y="1372634"/>
                  <a:pt x="3005480" y="1375802"/>
                </a:cubicBezTo>
                <a:cubicBezTo>
                  <a:pt x="2989926" y="1377435"/>
                  <a:pt x="2974275" y="1377723"/>
                  <a:pt x="2958721" y="1379259"/>
                </a:cubicBezTo>
                <a:cubicBezTo>
                  <a:pt x="2945087" y="1380604"/>
                  <a:pt x="2931549" y="1383100"/>
                  <a:pt x="2917915" y="1384733"/>
                </a:cubicBezTo>
                <a:cubicBezTo>
                  <a:pt x="2906105" y="1386076"/>
                  <a:pt x="2894199" y="1386844"/>
                  <a:pt x="2882389" y="1388189"/>
                </a:cubicBezTo>
                <a:cubicBezTo>
                  <a:pt x="2863475" y="1390397"/>
                  <a:pt x="2844655" y="1392894"/>
                  <a:pt x="2825837" y="1395198"/>
                </a:cubicBezTo>
                <a:cubicBezTo>
                  <a:pt x="2817964" y="1396062"/>
                  <a:pt x="2809706" y="1398462"/>
                  <a:pt x="2802313" y="1397023"/>
                </a:cubicBezTo>
                <a:cubicBezTo>
                  <a:pt x="2783686" y="1393373"/>
                  <a:pt x="2765347" y="1394430"/>
                  <a:pt x="2746816" y="1396926"/>
                </a:cubicBezTo>
                <a:cubicBezTo>
                  <a:pt x="2740479" y="1397791"/>
                  <a:pt x="2733662" y="1397598"/>
                  <a:pt x="2727517" y="1395966"/>
                </a:cubicBezTo>
                <a:cubicBezTo>
                  <a:pt x="2714939" y="1392701"/>
                  <a:pt x="2702745" y="1388092"/>
                  <a:pt x="2690359" y="1384060"/>
                </a:cubicBezTo>
                <a:cubicBezTo>
                  <a:pt x="2689014" y="1383580"/>
                  <a:pt x="2687382" y="1383484"/>
                  <a:pt x="2685943" y="1383196"/>
                </a:cubicBezTo>
                <a:cubicBezTo>
                  <a:pt x="2677781" y="1381563"/>
                  <a:pt x="2669717" y="1379931"/>
                  <a:pt x="2661554" y="1378491"/>
                </a:cubicBezTo>
                <a:cubicBezTo>
                  <a:pt x="2657138" y="1377723"/>
                  <a:pt x="2652625" y="1377627"/>
                  <a:pt x="2648208" y="1376955"/>
                </a:cubicBezTo>
                <a:cubicBezTo>
                  <a:pt x="2631118" y="1374266"/>
                  <a:pt x="2612299" y="1378779"/>
                  <a:pt x="2597512" y="1367162"/>
                </a:cubicBezTo>
                <a:cubicBezTo>
                  <a:pt x="2587911" y="1359672"/>
                  <a:pt x="2578597" y="1361401"/>
                  <a:pt x="2568324" y="1362553"/>
                </a:cubicBezTo>
                <a:cubicBezTo>
                  <a:pt x="2560547" y="1363417"/>
                  <a:pt x="2552577" y="1363128"/>
                  <a:pt x="2544704" y="1363225"/>
                </a:cubicBezTo>
                <a:cubicBezTo>
                  <a:pt x="2530878" y="1363512"/>
                  <a:pt x="2517052" y="1363609"/>
                  <a:pt x="2503225" y="1364089"/>
                </a:cubicBezTo>
                <a:cubicBezTo>
                  <a:pt x="2498808" y="1364281"/>
                  <a:pt x="2494297" y="1366682"/>
                  <a:pt x="2489975" y="1366298"/>
                </a:cubicBezTo>
                <a:cubicBezTo>
                  <a:pt x="2470004" y="1364473"/>
                  <a:pt x="2450033" y="1361592"/>
                  <a:pt x="2430061" y="1359960"/>
                </a:cubicBezTo>
                <a:cubicBezTo>
                  <a:pt x="2418732" y="1359001"/>
                  <a:pt x="2407114" y="1360824"/>
                  <a:pt x="2395880" y="1359480"/>
                </a:cubicBezTo>
                <a:cubicBezTo>
                  <a:pt x="2382919" y="1357944"/>
                  <a:pt x="2370245" y="1354008"/>
                  <a:pt x="2357378" y="1351607"/>
                </a:cubicBezTo>
                <a:cubicBezTo>
                  <a:pt x="2353826" y="1350935"/>
                  <a:pt x="2349889" y="1351799"/>
                  <a:pt x="2346145" y="1351991"/>
                </a:cubicBezTo>
                <a:cubicBezTo>
                  <a:pt x="2341920" y="1352183"/>
                  <a:pt x="2337791" y="1352567"/>
                  <a:pt x="2333567" y="1352663"/>
                </a:cubicBezTo>
                <a:cubicBezTo>
                  <a:pt x="2320700" y="1352856"/>
                  <a:pt x="2307835" y="1352567"/>
                  <a:pt x="2294968" y="1353240"/>
                </a:cubicBezTo>
                <a:cubicBezTo>
                  <a:pt x="2287095" y="1353624"/>
                  <a:pt x="2278839" y="1357560"/>
                  <a:pt x="2271540" y="1356120"/>
                </a:cubicBezTo>
                <a:cubicBezTo>
                  <a:pt x="2256659" y="1353335"/>
                  <a:pt x="2241776" y="1359576"/>
                  <a:pt x="2226895" y="1354392"/>
                </a:cubicBezTo>
                <a:cubicBezTo>
                  <a:pt x="2222285" y="1352856"/>
                  <a:pt x="2215948" y="1356696"/>
                  <a:pt x="2210379" y="1356888"/>
                </a:cubicBezTo>
                <a:cubicBezTo>
                  <a:pt x="2196457" y="1357368"/>
                  <a:pt x="2182535" y="1357272"/>
                  <a:pt x="2168613" y="1357176"/>
                </a:cubicBezTo>
                <a:cubicBezTo>
                  <a:pt x="2156131" y="1357080"/>
                  <a:pt x="2143168" y="1358424"/>
                  <a:pt x="2131167" y="1355736"/>
                </a:cubicBezTo>
                <a:cubicBezTo>
                  <a:pt x="2118588" y="1352856"/>
                  <a:pt x="2107259" y="1353240"/>
                  <a:pt x="2095065" y="1356504"/>
                </a:cubicBezTo>
                <a:cubicBezTo>
                  <a:pt x="2086711" y="1358712"/>
                  <a:pt x="2077878" y="1359001"/>
                  <a:pt x="2069237" y="1359672"/>
                </a:cubicBezTo>
                <a:cubicBezTo>
                  <a:pt x="2059924" y="1360440"/>
                  <a:pt x="2049650" y="1358424"/>
                  <a:pt x="2041201" y="1361592"/>
                </a:cubicBezTo>
                <a:cubicBezTo>
                  <a:pt x="2016044" y="1371002"/>
                  <a:pt x="1990216" y="1373018"/>
                  <a:pt x="1963909" y="1373018"/>
                </a:cubicBezTo>
                <a:cubicBezTo>
                  <a:pt x="1959107" y="1373018"/>
                  <a:pt x="1954210" y="1371675"/>
                  <a:pt x="1949603" y="1370234"/>
                </a:cubicBezTo>
                <a:cubicBezTo>
                  <a:pt x="1922717" y="1361592"/>
                  <a:pt x="1895737" y="1362360"/>
                  <a:pt x="1868373" y="1367641"/>
                </a:cubicBezTo>
                <a:cubicBezTo>
                  <a:pt x="1862708" y="1368794"/>
                  <a:pt x="1856372" y="1368986"/>
                  <a:pt x="1850707" y="1367834"/>
                </a:cubicBezTo>
                <a:cubicBezTo>
                  <a:pt x="1834768" y="1364473"/>
                  <a:pt x="1819309" y="1358904"/>
                  <a:pt x="1803275" y="1356504"/>
                </a:cubicBezTo>
                <a:cubicBezTo>
                  <a:pt x="1776775" y="1352567"/>
                  <a:pt x="1753828" y="1365817"/>
                  <a:pt x="1730112" y="1374459"/>
                </a:cubicBezTo>
                <a:cubicBezTo>
                  <a:pt x="1707548" y="1382620"/>
                  <a:pt x="1688345" y="1401055"/>
                  <a:pt x="1661652" y="1396926"/>
                </a:cubicBezTo>
                <a:cubicBezTo>
                  <a:pt x="1658965" y="1396542"/>
                  <a:pt x="1655988" y="1399134"/>
                  <a:pt x="1653011" y="1399807"/>
                </a:cubicBezTo>
                <a:cubicBezTo>
                  <a:pt x="1644850" y="1401631"/>
                  <a:pt x="1636689" y="1403839"/>
                  <a:pt x="1628431" y="1404704"/>
                </a:cubicBezTo>
                <a:cubicBezTo>
                  <a:pt x="1618350" y="1405856"/>
                  <a:pt x="1608076" y="1405472"/>
                  <a:pt x="1597995" y="1406432"/>
                </a:cubicBezTo>
                <a:cubicBezTo>
                  <a:pt x="1585032" y="1407584"/>
                  <a:pt x="1572263" y="1410656"/>
                  <a:pt x="1559396" y="1410656"/>
                </a:cubicBezTo>
                <a:cubicBezTo>
                  <a:pt x="1549026" y="1410656"/>
                  <a:pt x="1538753" y="1407104"/>
                  <a:pt x="1528480" y="1405375"/>
                </a:cubicBezTo>
                <a:cubicBezTo>
                  <a:pt x="1513981" y="1402975"/>
                  <a:pt x="1498042" y="1403647"/>
                  <a:pt x="1485272" y="1397502"/>
                </a:cubicBezTo>
                <a:cubicBezTo>
                  <a:pt x="1471639" y="1390973"/>
                  <a:pt x="1458676" y="1387997"/>
                  <a:pt x="1444562" y="1390013"/>
                </a:cubicBezTo>
                <a:cubicBezTo>
                  <a:pt x="1439857" y="1390685"/>
                  <a:pt x="1433808" y="1394718"/>
                  <a:pt x="1431696" y="1398846"/>
                </a:cubicBezTo>
                <a:cubicBezTo>
                  <a:pt x="1426991" y="1408064"/>
                  <a:pt x="1420559" y="1409697"/>
                  <a:pt x="1411821" y="1406527"/>
                </a:cubicBezTo>
                <a:cubicBezTo>
                  <a:pt x="1404236" y="1403839"/>
                  <a:pt x="1394922" y="1402495"/>
                  <a:pt x="1389738" y="1397310"/>
                </a:cubicBezTo>
                <a:cubicBezTo>
                  <a:pt x="1375047" y="1382620"/>
                  <a:pt x="1356324" y="1382140"/>
                  <a:pt x="1338081" y="1378204"/>
                </a:cubicBezTo>
                <a:cubicBezTo>
                  <a:pt x="1326945" y="1375802"/>
                  <a:pt x="1316574" y="1375707"/>
                  <a:pt x="1305436" y="1377339"/>
                </a:cubicBezTo>
                <a:cubicBezTo>
                  <a:pt x="1281241" y="1380988"/>
                  <a:pt x="1257717" y="1375802"/>
                  <a:pt x="1234481" y="1369178"/>
                </a:cubicBezTo>
                <a:cubicBezTo>
                  <a:pt x="1219118" y="1364761"/>
                  <a:pt x="1203372" y="1362073"/>
                  <a:pt x="1188106" y="1357560"/>
                </a:cubicBezTo>
                <a:cubicBezTo>
                  <a:pt x="1176680" y="1354104"/>
                  <a:pt x="1165255" y="1349975"/>
                  <a:pt x="1154790" y="1344406"/>
                </a:cubicBezTo>
                <a:cubicBezTo>
                  <a:pt x="1139618" y="1336244"/>
                  <a:pt x="1126369" y="1323954"/>
                  <a:pt x="1107069" y="1327219"/>
                </a:cubicBezTo>
                <a:cubicBezTo>
                  <a:pt x="1090074" y="1330099"/>
                  <a:pt x="1074713" y="1324051"/>
                  <a:pt x="1059158" y="1318290"/>
                </a:cubicBezTo>
                <a:cubicBezTo>
                  <a:pt x="1047732" y="1314065"/>
                  <a:pt x="1036308" y="1309744"/>
                  <a:pt x="1024496" y="1307056"/>
                </a:cubicBezTo>
                <a:cubicBezTo>
                  <a:pt x="1010478" y="1303887"/>
                  <a:pt x="994635" y="1305232"/>
                  <a:pt x="982153" y="1299374"/>
                </a:cubicBezTo>
                <a:cubicBezTo>
                  <a:pt x="969095" y="1293229"/>
                  <a:pt x="958246" y="1297358"/>
                  <a:pt x="946628" y="1299087"/>
                </a:cubicBezTo>
                <a:cubicBezTo>
                  <a:pt x="928097" y="1301775"/>
                  <a:pt x="909661" y="1306768"/>
                  <a:pt x="890939" y="1300431"/>
                </a:cubicBezTo>
                <a:cubicBezTo>
                  <a:pt x="868184" y="1292750"/>
                  <a:pt x="845620" y="1284493"/>
                  <a:pt x="822769" y="1277196"/>
                </a:cubicBezTo>
                <a:cubicBezTo>
                  <a:pt x="813934" y="1274410"/>
                  <a:pt x="804431" y="1273258"/>
                  <a:pt x="795212" y="1272010"/>
                </a:cubicBezTo>
                <a:cubicBezTo>
                  <a:pt x="786476" y="1270954"/>
                  <a:pt x="776010" y="1273642"/>
                  <a:pt x="769288" y="1269610"/>
                </a:cubicBezTo>
                <a:cubicBezTo>
                  <a:pt x="752005" y="1259241"/>
                  <a:pt x="734243" y="1254152"/>
                  <a:pt x="714271" y="1254152"/>
                </a:cubicBezTo>
                <a:cubicBezTo>
                  <a:pt x="706781" y="1254152"/>
                  <a:pt x="699484" y="1249831"/>
                  <a:pt x="691900" y="1249062"/>
                </a:cubicBezTo>
                <a:cubicBezTo>
                  <a:pt x="681529" y="1248103"/>
                  <a:pt x="669623" y="1245510"/>
                  <a:pt x="660598" y="1249159"/>
                </a:cubicBezTo>
                <a:cubicBezTo>
                  <a:pt x="639379" y="1257800"/>
                  <a:pt x="622193" y="1250599"/>
                  <a:pt x="603662" y="1242054"/>
                </a:cubicBezTo>
                <a:cubicBezTo>
                  <a:pt x="585418" y="1233604"/>
                  <a:pt x="566215" y="1226884"/>
                  <a:pt x="546821" y="1221314"/>
                </a:cubicBezTo>
                <a:cubicBezTo>
                  <a:pt x="539524" y="1219298"/>
                  <a:pt x="530787" y="1222659"/>
                  <a:pt x="522721" y="1223330"/>
                </a:cubicBezTo>
                <a:cubicBezTo>
                  <a:pt x="519840" y="1223523"/>
                  <a:pt x="516671" y="1223811"/>
                  <a:pt x="514080" y="1222851"/>
                </a:cubicBezTo>
                <a:cubicBezTo>
                  <a:pt x="489020" y="1213633"/>
                  <a:pt x="463575" y="1206624"/>
                  <a:pt x="436404" y="1211424"/>
                </a:cubicBezTo>
                <a:cubicBezTo>
                  <a:pt x="433908" y="1211905"/>
                  <a:pt x="431123" y="1210849"/>
                  <a:pt x="428626" y="1210177"/>
                </a:cubicBezTo>
                <a:cubicBezTo>
                  <a:pt x="416432" y="1206720"/>
                  <a:pt x="404526" y="1201247"/>
                  <a:pt x="392141" y="1199999"/>
                </a:cubicBezTo>
                <a:cubicBezTo>
                  <a:pt x="361608" y="1196927"/>
                  <a:pt x="330884" y="1195678"/>
                  <a:pt x="300157" y="1193662"/>
                </a:cubicBezTo>
                <a:cubicBezTo>
                  <a:pt x="298237" y="1193566"/>
                  <a:pt x="296221" y="1193566"/>
                  <a:pt x="294493" y="1192894"/>
                </a:cubicBezTo>
                <a:cubicBezTo>
                  <a:pt x="283163" y="1188765"/>
                  <a:pt x="273274" y="1190110"/>
                  <a:pt x="263671" y="1197982"/>
                </a:cubicBezTo>
                <a:cubicBezTo>
                  <a:pt x="259447" y="1201439"/>
                  <a:pt x="253686" y="1203263"/>
                  <a:pt x="248406" y="1205184"/>
                </a:cubicBezTo>
                <a:cubicBezTo>
                  <a:pt x="240628" y="1208065"/>
                  <a:pt x="232659" y="1210849"/>
                  <a:pt x="224594" y="1212673"/>
                </a:cubicBezTo>
                <a:cubicBezTo>
                  <a:pt x="216624" y="1214401"/>
                  <a:pt x="208079" y="1216801"/>
                  <a:pt x="200398" y="1215458"/>
                </a:cubicBezTo>
                <a:cubicBezTo>
                  <a:pt x="186572" y="1213057"/>
                  <a:pt x="173417" y="1207681"/>
                  <a:pt x="159783" y="1204127"/>
                </a:cubicBezTo>
                <a:cubicBezTo>
                  <a:pt x="155079" y="1202879"/>
                  <a:pt x="149893" y="1203072"/>
                  <a:pt x="144997" y="1202975"/>
                </a:cubicBezTo>
                <a:cubicBezTo>
                  <a:pt x="133763" y="1202688"/>
                  <a:pt x="122241" y="1205472"/>
                  <a:pt x="112064" y="1197503"/>
                </a:cubicBezTo>
                <a:cubicBezTo>
                  <a:pt x="102655" y="1190014"/>
                  <a:pt x="93148" y="1192221"/>
                  <a:pt x="83259" y="1197887"/>
                </a:cubicBezTo>
                <a:cubicBezTo>
                  <a:pt x="76154" y="1201920"/>
                  <a:pt x="68090" y="1205088"/>
                  <a:pt x="60120" y="1206624"/>
                </a:cubicBezTo>
                <a:cubicBezTo>
                  <a:pt x="49174" y="1208736"/>
                  <a:pt x="38324" y="1209601"/>
                  <a:pt x="26514" y="1208352"/>
                </a:cubicBezTo>
                <a:cubicBezTo>
                  <a:pt x="18161" y="1207488"/>
                  <a:pt x="11343" y="1207104"/>
                  <a:pt x="4814" y="1202015"/>
                </a:cubicBezTo>
                <a:cubicBezTo>
                  <a:pt x="3759" y="1201247"/>
                  <a:pt x="1839" y="1201055"/>
                  <a:pt x="398" y="1201152"/>
                </a:cubicBezTo>
                <a:lnTo>
                  <a:pt x="0" y="1201150"/>
                </a:lnTo>
                <a:lnTo>
                  <a:pt x="0" y="1004512"/>
                </a:lnTo>
                <a:lnTo>
                  <a:pt x="30355" y="1002784"/>
                </a:lnTo>
                <a:cubicBezTo>
                  <a:pt x="37748" y="1002111"/>
                  <a:pt x="44853" y="999520"/>
                  <a:pt x="52151" y="997695"/>
                </a:cubicBezTo>
                <a:cubicBezTo>
                  <a:pt x="56183" y="996639"/>
                  <a:pt x="60504" y="993855"/>
                  <a:pt x="64248" y="994430"/>
                </a:cubicBezTo>
                <a:cubicBezTo>
                  <a:pt x="85948" y="997791"/>
                  <a:pt x="105823" y="989534"/>
                  <a:pt x="126370" y="985405"/>
                </a:cubicBezTo>
                <a:cubicBezTo>
                  <a:pt x="135876" y="983485"/>
                  <a:pt x="144805" y="978876"/>
                  <a:pt x="154022" y="975708"/>
                </a:cubicBezTo>
                <a:cubicBezTo>
                  <a:pt x="156423" y="974843"/>
                  <a:pt x="159111" y="974075"/>
                  <a:pt x="161512" y="974268"/>
                </a:cubicBezTo>
                <a:cubicBezTo>
                  <a:pt x="175242" y="975420"/>
                  <a:pt x="188876" y="977052"/>
                  <a:pt x="202510" y="978300"/>
                </a:cubicBezTo>
                <a:cubicBezTo>
                  <a:pt x="214896" y="979452"/>
                  <a:pt x="227378" y="979836"/>
                  <a:pt x="233235" y="993950"/>
                </a:cubicBezTo>
                <a:cubicBezTo>
                  <a:pt x="234100" y="996159"/>
                  <a:pt x="236979" y="997791"/>
                  <a:pt x="239188" y="999231"/>
                </a:cubicBezTo>
                <a:cubicBezTo>
                  <a:pt x="273274" y="1021411"/>
                  <a:pt x="291516" y="1020835"/>
                  <a:pt x="324834" y="997407"/>
                </a:cubicBezTo>
                <a:cubicBezTo>
                  <a:pt x="328290" y="995007"/>
                  <a:pt x="335683" y="993278"/>
                  <a:pt x="337987" y="995198"/>
                </a:cubicBezTo>
                <a:cubicBezTo>
                  <a:pt x="357575" y="1011137"/>
                  <a:pt x="378986" y="1009409"/>
                  <a:pt x="401550" y="1004416"/>
                </a:cubicBezTo>
                <a:cubicBezTo>
                  <a:pt x="407407" y="1003072"/>
                  <a:pt x="415664" y="1003072"/>
                  <a:pt x="420081" y="1006240"/>
                </a:cubicBezTo>
                <a:cubicBezTo>
                  <a:pt x="441108" y="1020930"/>
                  <a:pt x="463672" y="1018819"/>
                  <a:pt x="486523" y="1014498"/>
                </a:cubicBezTo>
                <a:cubicBezTo>
                  <a:pt x="490075" y="1013826"/>
                  <a:pt x="494397" y="1010177"/>
                  <a:pt x="495932" y="1006817"/>
                </a:cubicBezTo>
                <a:cubicBezTo>
                  <a:pt x="501406" y="994911"/>
                  <a:pt x="511680" y="990878"/>
                  <a:pt x="523009" y="987517"/>
                </a:cubicBezTo>
                <a:cubicBezTo>
                  <a:pt x="540868" y="982044"/>
                  <a:pt x="558438" y="975611"/>
                  <a:pt x="576393" y="970427"/>
                </a:cubicBezTo>
                <a:cubicBezTo>
                  <a:pt x="580811" y="969179"/>
                  <a:pt x="586283" y="969947"/>
                  <a:pt x="590892" y="971387"/>
                </a:cubicBezTo>
                <a:cubicBezTo>
                  <a:pt x="606638" y="976284"/>
                  <a:pt x="616624" y="988574"/>
                  <a:pt x="627569" y="999904"/>
                </a:cubicBezTo>
                <a:cubicBezTo>
                  <a:pt x="632370" y="1004897"/>
                  <a:pt x="638995" y="1008449"/>
                  <a:pt x="645429" y="1011329"/>
                </a:cubicBezTo>
                <a:cubicBezTo>
                  <a:pt x="662135" y="1018723"/>
                  <a:pt x="679226" y="1025348"/>
                  <a:pt x="696125" y="1032356"/>
                </a:cubicBezTo>
                <a:cubicBezTo>
                  <a:pt x="697757" y="1033029"/>
                  <a:pt x="699100" y="1034757"/>
                  <a:pt x="700349" y="1036197"/>
                </a:cubicBezTo>
                <a:cubicBezTo>
                  <a:pt x="712831" y="1051368"/>
                  <a:pt x="725216" y="1066634"/>
                  <a:pt x="737795" y="1081804"/>
                </a:cubicBezTo>
                <a:cubicBezTo>
                  <a:pt x="740195" y="1084684"/>
                  <a:pt x="743652" y="1086797"/>
                  <a:pt x="746244" y="1089581"/>
                </a:cubicBezTo>
                <a:cubicBezTo>
                  <a:pt x="749893" y="1093422"/>
                  <a:pt x="754502" y="1097071"/>
                  <a:pt x="756422" y="1101680"/>
                </a:cubicBezTo>
                <a:cubicBezTo>
                  <a:pt x="762374" y="1116177"/>
                  <a:pt x="773801" y="1122419"/>
                  <a:pt x="788202" y="1125108"/>
                </a:cubicBezTo>
                <a:cubicBezTo>
                  <a:pt x="801357" y="1127603"/>
                  <a:pt x="814511" y="1129716"/>
                  <a:pt x="827569" y="1132596"/>
                </a:cubicBezTo>
                <a:cubicBezTo>
                  <a:pt x="843507" y="1136053"/>
                  <a:pt x="859350" y="1139798"/>
                  <a:pt x="875097" y="1144022"/>
                </a:cubicBezTo>
                <a:cubicBezTo>
                  <a:pt x="881913" y="1145847"/>
                  <a:pt x="889115" y="1147959"/>
                  <a:pt x="894972" y="1151704"/>
                </a:cubicBezTo>
                <a:cubicBezTo>
                  <a:pt x="911390" y="1162073"/>
                  <a:pt x="928961" y="1169082"/>
                  <a:pt x="948260" y="1166298"/>
                </a:cubicBezTo>
                <a:cubicBezTo>
                  <a:pt x="963718" y="1164089"/>
                  <a:pt x="976680" y="1169754"/>
                  <a:pt x="986282" y="1178588"/>
                </a:cubicBezTo>
                <a:cubicBezTo>
                  <a:pt x="1003757" y="1194623"/>
                  <a:pt x="1022479" y="1190973"/>
                  <a:pt x="1041107" y="1185789"/>
                </a:cubicBezTo>
                <a:cubicBezTo>
                  <a:pt x="1050708" y="1183101"/>
                  <a:pt x="1058581" y="1183485"/>
                  <a:pt x="1067703" y="1186076"/>
                </a:cubicBezTo>
                <a:cubicBezTo>
                  <a:pt x="1088826" y="1192126"/>
                  <a:pt x="1102941" y="1208544"/>
                  <a:pt x="1116574" y="1222946"/>
                </a:cubicBezTo>
                <a:cubicBezTo>
                  <a:pt x="1128193" y="1235236"/>
                  <a:pt x="1141251" y="1242149"/>
                  <a:pt x="1155557" y="1247335"/>
                </a:cubicBezTo>
                <a:cubicBezTo>
                  <a:pt x="1173608" y="1253959"/>
                  <a:pt x="1187914" y="1251464"/>
                  <a:pt x="1196556" y="1235525"/>
                </a:cubicBezTo>
                <a:cubicBezTo>
                  <a:pt x="1198956" y="1231012"/>
                  <a:pt x="1203180" y="1225730"/>
                  <a:pt x="1207693" y="1224387"/>
                </a:cubicBezTo>
                <a:cubicBezTo>
                  <a:pt x="1229488" y="1217666"/>
                  <a:pt x="1251572" y="1207872"/>
                  <a:pt x="1274904" y="1213826"/>
                </a:cubicBezTo>
                <a:cubicBezTo>
                  <a:pt x="1307165" y="1221987"/>
                  <a:pt x="1338658" y="1221507"/>
                  <a:pt x="1370919" y="1213442"/>
                </a:cubicBezTo>
                <a:cubicBezTo>
                  <a:pt x="1423247" y="1200383"/>
                  <a:pt x="1475575" y="1186557"/>
                  <a:pt x="1530593" y="1189437"/>
                </a:cubicBezTo>
                <a:cubicBezTo>
                  <a:pt x="1539713" y="1189917"/>
                  <a:pt x="1550563" y="1184060"/>
                  <a:pt x="1558436" y="1178299"/>
                </a:cubicBezTo>
                <a:cubicBezTo>
                  <a:pt x="1573511" y="1167354"/>
                  <a:pt x="1572838" y="1166489"/>
                  <a:pt x="1589737" y="1175515"/>
                </a:cubicBezTo>
                <a:cubicBezTo>
                  <a:pt x="1593770" y="1177724"/>
                  <a:pt x="1598763" y="1179068"/>
                  <a:pt x="1601740" y="1182333"/>
                </a:cubicBezTo>
                <a:cubicBezTo>
                  <a:pt x="1616909" y="1198943"/>
                  <a:pt x="1635633" y="1194910"/>
                  <a:pt x="1654259" y="1192510"/>
                </a:cubicBezTo>
                <a:cubicBezTo>
                  <a:pt x="1657524" y="1192030"/>
                  <a:pt x="1661460" y="1191358"/>
                  <a:pt x="1664246" y="1192702"/>
                </a:cubicBezTo>
                <a:cubicBezTo>
                  <a:pt x="1676823" y="1198750"/>
                  <a:pt x="1687481" y="1196639"/>
                  <a:pt x="1698427" y="1188381"/>
                </a:cubicBezTo>
                <a:cubicBezTo>
                  <a:pt x="1707932" y="1181276"/>
                  <a:pt x="1718878" y="1177052"/>
                  <a:pt x="1730112" y="1185885"/>
                </a:cubicBezTo>
                <a:cubicBezTo>
                  <a:pt x="1755076" y="1205472"/>
                  <a:pt x="1781767" y="1206432"/>
                  <a:pt x="1809996" y="1194046"/>
                </a:cubicBezTo>
                <a:cubicBezTo>
                  <a:pt x="1830159" y="1185213"/>
                  <a:pt x="1850034" y="1183196"/>
                  <a:pt x="1871254" y="1192126"/>
                </a:cubicBezTo>
                <a:cubicBezTo>
                  <a:pt x="1879415" y="1195582"/>
                  <a:pt x="1889977" y="1193278"/>
                  <a:pt x="1899482" y="1194046"/>
                </a:cubicBezTo>
                <a:cubicBezTo>
                  <a:pt x="1904859" y="1194430"/>
                  <a:pt x="1910813" y="1194526"/>
                  <a:pt x="1915420" y="1196927"/>
                </a:cubicBezTo>
                <a:cubicBezTo>
                  <a:pt x="1927711" y="1203072"/>
                  <a:pt x="1939136" y="1210945"/>
                  <a:pt x="1951522" y="1216994"/>
                </a:cubicBezTo>
                <a:cubicBezTo>
                  <a:pt x="1957475" y="1219874"/>
                  <a:pt x="1964580" y="1221410"/>
                  <a:pt x="1971302" y="1221507"/>
                </a:cubicBezTo>
                <a:cubicBezTo>
                  <a:pt x="1991177" y="1221987"/>
                  <a:pt x="2011052" y="1221987"/>
                  <a:pt x="2030831" y="1221123"/>
                </a:cubicBezTo>
                <a:cubicBezTo>
                  <a:pt x="2063476" y="1219778"/>
                  <a:pt x="2096601" y="1219490"/>
                  <a:pt x="2120125" y="1190878"/>
                </a:cubicBezTo>
                <a:cubicBezTo>
                  <a:pt x="2122046" y="1188573"/>
                  <a:pt x="2126174" y="1187229"/>
                  <a:pt x="2129439" y="1186845"/>
                </a:cubicBezTo>
                <a:cubicBezTo>
                  <a:pt x="2144513" y="1185021"/>
                  <a:pt x="2159971" y="1184828"/>
                  <a:pt x="2174854" y="1181852"/>
                </a:cubicBezTo>
                <a:cubicBezTo>
                  <a:pt x="2186760" y="1179452"/>
                  <a:pt x="2196650" y="1180220"/>
                  <a:pt x="2205674" y="1188669"/>
                </a:cubicBezTo>
                <a:cubicBezTo>
                  <a:pt x="2217485" y="1199807"/>
                  <a:pt x="2231887" y="1206336"/>
                  <a:pt x="2247634" y="1202784"/>
                </a:cubicBezTo>
                <a:cubicBezTo>
                  <a:pt x="2263379" y="1199327"/>
                  <a:pt x="2273749" y="1206816"/>
                  <a:pt x="2285367" y="1214594"/>
                </a:cubicBezTo>
                <a:cubicBezTo>
                  <a:pt x="2293817" y="1220258"/>
                  <a:pt x="2303418" y="1227363"/>
                  <a:pt x="2312827" y="1227939"/>
                </a:cubicBezTo>
                <a:cubicBezTo>
                  <a:pt x="2334143" y="1229187"/>
                  <a:pt x="2352482" y="1248967"/>
                  <a:pt x="2375622" y="1237733"/>
                </a:cubicBezTo>
                <a:cubicBezTo>
                  <a:pt x="2377158" y="1236965"/>
                  <a:pt x="2379942" y="1238885"/>
                  <a:pt x="2382151" y="1239365"/>
                </a:cubicBezTo>
                <a:cubicBezTo>
                  <a:pt x="2399817" y="1243014"/>
                  <a:pt x="2416428" y="1239461"/>
                  <a:pt x="2429390" y="1227459"/>
                </a:cubicBezTo>
                <a:cubicBezTo>
                  <a:pt x="2446385" y="1211809"/>
                  <a:pt x="2465203" y="1210272"/>
                  <a:pt x="2486134" y="1215362"/>
                </a:cubicBezTo>
                <a:cubicBezTo>
                  <a:pt x="2492856" y="1216994"/>
                  <a:pt x="2499577" y="1218146"/>
                  <a:pt x="2506394" y="1219490"/>
                </a:cubicBezTo>
                <a:cubicBezTo>
                  <a:pt x="2515611" y="1221410"/>
                  <a:pt x="2524925" y="1223427"/>
                  <a:pt x="2534142" y="1225347"/>
                </a:cubicBezTo>
                <a:cubicBezTo>
                  <a:pt x="2543072" y="1227268"/>
                  <a:pt x="2552962" y="1230532"/>
                  <a:pt x="2559874" y="1222275"/>
                </a:cubicBezTo>
                <a:cubicBezTo>
                  <a:pt x="2565827" y="1215169"/>
                  <a:pt x="2570052" y="1215842"/>
                  <a:pt x="2575525" y="1221987"/>
                </a:cubicBezTo>
                <a:cubicBezTo>
                  <a:pt x="2594536" y="1243494"/>
                  <a:pt x="2617580" y="1256936"/>
                  <a:pt x="2646960" y="1257896"/>
                </a:cubicBezTo>
                <a:cubicBezTo>
                  <a:pt x="2653009" y="1258088"/>
                  <a:pt x="2659154" y="1259432"/>
                  <a:pt x="2665107" y="1260873"/>
                </a:cubicBezTo>
                <a:cubicBezTo>
                  <a:pt x="2668756" y="1261736"/>
                  <a:pt x="2673173" y="1262697"/>
                  <a:pt x="2675381" y="1265290"/>
                </a:cubicBezTo>
                <a:cubicBezTo>
                  <a:pt x="2692567" y="1285068"/>
                  <a:pt x="2713979" y="1298799"/>
                  <a:pt x="2737311" y="1309841"/>
                </a:cubicBezTo>
                <a:cubicBezTo>
                  <a:pt x="2745664" y="1313777"/>
                  <a:pt x="2754594" y="1317713"/>
                  <a:pt x="2763619" y="1318866"/>
                </a:cubicBezTo>
                <a:cubicBezTo>
                  <a:pt x="2773028" y="1320018"/>
                  <a:pt x="2782917" y="1318098"/>
                  <a:pt x="2792519" y="1317041"/>
                </a:cubicBezTo>
                <a:cubicBezTo>
                  <a:pt x="2798184" y="1316466"/>
                  <a:pt x="2804713" y="1316561"/>
                  <a:pt x="2809226" y="1313777"/>
                </a:cubicBezTo>
                <a:cubicBezTo>
                  <a:pt x="2823532" y="1305039"/>
                  <a:pt x="2837358" y="1295631"/>
                  <a:pt x="2850705" y="1285452"/>
                </a:cubicBezTo>
                <a:cubicBezTo>
                  <a:pt x="2862131" y="1276715"/>
                  <a:pt x="2864435" y="1275467"/>
                  <a:pt x="2874324" y="1286413"/>
                </a:cubicBezTo>
                <a:cubicBezTo>
                  <a:pt x="2884502" y="1297647"/>
                  <a:pt x="2897176" y="1303503"/>
                  <a:pt x="2911194" y="1305903"/>
                </a:cubicBezTo>
                <a:cubicBezTo>
                  <a:pt x="2933373" y="1309648"/>
                  <a:pt x="2955745" y="1312816"/>
                  <a:pt x="2978116" y="1314641"/>
                </a:cubicBezTo>
                <a:cubicBezTo>
                  <a:pt x="2998375" y="1316273"/>
                  <a:pt x="3008073" y="1307440"/>
                  <a:pt x="3012106" y="1287373"/>
                </a:cubicBezTo>
                <a:cubicBezTo>
                  <a:pt x="3014410" y="1276235"/>
                  <a:pt x="3017387" y="1264137"/>
                  <a:pt x="3029676" y="1261161"/>
                </a:cubicBezTo>
                <a:cubicBezTo>
                  <a:pt x="3049744" y="1256360"/>
                  <a:pt x="3070579" y="1254248"/>
                  <a:pt x="3080469" y="1230724"/>
                </a:cubicBezTo>
                <a:cubicBezTo>
                  <a:pt x="3085941" y="1235909"/>
                  <a:pt x="3089302" y="1238981"/>
                  <a:pt x="3092567" y="1242054"/>
                </a:cubicBezTo>
                <a:cubicBezTo>
                  <a:pt x="3101592" y="1250599"/>
                  <a:pt x="3120314" y="1254248"/>
                  <a:pt x="3129821" y="1246855"/>
                </a:cubicBezTo>
                <a:cubicBezTo>
                  <a:pt x="3143839" y="1236101"/>
                  <a:pt x="3156705" y="1238117"/>
                  <a:pt x="3170147" y="1246471"/>
                </a:cubicBezTo>
                <a:cubicBezTo>
                  <a:pt x="3192615" y="1260297"/>
                  <a:pt x="3217674" y="1257128"/>
                  <a:pt x="3240429" y="1251559"/>
                </a:cubicBezTo>
                <a:cubicBezTo>
                  <a:pt x="3257617" y="1247430"/>
                  <a:pt x="3275956" y="1239845"/>
                  <a:pt x="3287189" y="1222466"/>
                </a:cubicBezTo>
                <a:cubicBezTo>
                  <a:pt x="3290741" y="1216898"/>
                  <a:pt x="3298711" y="1214113"/>
                  <a:pt x="3305049" y="1210465"/>
                </a:cubicBezTo>
                <a:cubicBezTo>
                  <a:pt x="3310329" y="1207488"/>
                  <a:pt x="3315898" y="1204704"/>
                  <a:pt x="3321755" y="1202784"/>
                </a:cubicBezTo>
                <a:cubicBezTo>
                  <a:pt x="3327995" y="1200671"/>
                  <a:pt x="3334909" y="1197598"/>
                  <a:pt x="3341055" y="1198463"/>
                </a:cubicBezTo>
                <a:cubicBezTo>
                  <a:pt x="3359681" y="1200959"/>
                  <a:pt x="3374467" y="1196062"/>
                  <a:pt x="3387621" y="1182140"/>
                </a:cubicBezTo>
                <a:cubicBezTo>
                  <a:pt x="3394439" y="1174939"/>
                  <a:pt x="3404520" y="1166202"/>
                  <a:pt x="3413161" y="1166105"/>
                </a:cubicBezTo>
                <a:cubicBezTo>
                  <a:pt x="3434189" y="1165818"/>
                  <a:pt x="3451663" y="1158905"/>
                  <a:pt x="3470579" y="1150647"/>
                </a:cubicBezTo>
                <a:cubicBezTo>
                  <a:pt x="3482772" y="1145366"/>
                  <a:pt x="3496598" y="1141718"/>
                  <a:pt x="3509657" y="1136821"/>
                </a:cubicBezTo>
                <a:cubicBezTo>
                  <a:pt x="3524923" y="1131060"/>
                  <a:pt x="3541534" y="1128948"/>
                  <a:pt x="3550847" y="1113009"/>
                </a:cubicBezTo>
                <a:cubicBezTo>
                  <a:pt x="3551903" y="1111281"/>
                  <a:pt x="3555072" y="1110993"/>
                  <a:pt x="3556608" y="1109361"/>
                </a:cubicBezTo>
                <a:cubicBezTo>
                  <a:pt x="3561505" y="1104368"/>
                  <a:pt x="3567842" y="1099760"/>
                  <a:pt x="3570435" y="1093710"/>
                </a:cubicBezTo>
                <a:cubicBezTo>
                  <a:pt x="3577923" y="1076044"/>
                  <a:pt x="3583780" y="1057800"/>
                  <a:pt x="3590501" y="1039846"/>
                </a:cubicBezTo>
                <a:cubicBezTo>
                  <a:pt x="3591942" y="1036005"/>
                  <a:pt x="3593285" y="1031108"/>
                  <a:pt x="3596263" y="1028900"/>
                </a:cubicBezTo>
                <a:cubicBezTo>
                  <a:pt x="3613449" y="1016226"/>
                  <a:pt x="3630925" y="1004032"/>
                  <a:pt x="3648591" y="992030"/>
                </a:cubicBezTo>
                <a:cubicBezTo>
                  <a:pt x="3655696" y="987229"/>
                  <a:pt x="3661649" y="989918"/>
                  <a:pt x="3667986" y="995487"/>
                </a:cubicBezTo>
                <a:cubicBezTo>
                  <a:pt x="3674131" y="1000768"/>
                  <a:pt x="3681717" y="1006240"/>
                  <a:pt x="3689397" y="1007585"/>
                </a:cubicBezTo>
                <a:cubicBezTo>
                  <a:pt x="3704760" y="1010177"/>
                  <a:pt x="3720698" y="1010753"/>
                  <a:pt x="3736349" y="1010753"/>
                </a:cubicBezTo>
                <a:cubicBezTo>
                  <a:pt x="3742205" y="1010753"/>
                  <a:pt x="3748446" y="1007297"/>
                  <a:pt x="3753919" y="1004513"/>
                </a:cubicBezTo>
                <a:cubicBezTo>
                  <a:pt x="3764289" y="999231"/>
                  <a:pt x="3773890" y="992126"/>
                  <a:pt x="3784643" y="987710"/>
                </a:cubicBezTo>
                <a:cubicBezTo>
                  <a:pt x="3797126" y="982621"/>
                  <a:pt x="3804615" y="974459"/>
                  <a:pt x="3808359" y="961689"/>
                </a:cubicBezTo>
                <a:cubicBezTo>
                  <a:pt x="3813929" y="942679"/>
                  <a:pt x="3827179" y="929428"/>
                  <a:pt x="3842829" y="918674"/>
                </a:cubicBezTo>
                <a:cubicBezTo>
                  <a:pt x="3862705" y="904944"/>
                  <a:pt x="3886421" y="905616"/>
                  <a:pt x="3908983" y="902256"/>
                </a:cubicBezTo>
                <a:cubicBezTo>
                  <a:pt x="3917625" y="901008"/>
                  <a:pt x="3926555" y="899951"/>
                  <a:pt x="3934428" y="896783"/>
                </a:cubicBezTo>
                <a:cubicBezTo>
                  <a:pt x="3964288" y="884877"/>
                  <a:pt x="3994149" y="873548"/>
                  <a:pt x="4026987" y="873835"/>
                </a:cubicBezTo>
                <a:cubicBezTo>
                  <a:pt x="4029674" y="873835"/>
                  <a:pt x="4032363" y="873548"/>
                  <a:pt x="4035051" y="873067"/>
                </a:cubicBezTo>
                <a:cubicBezTo>
                  <a:pt x="4058383" y="869131"/>
                  <a:pt x="4082483" y="867594"/>
                  <a:pt x="4099189" y="846664"/>
                </a:cubicBezTo>
                <a:cubicBezTo>
                  <a:pt x="4102261" y="842823"/>
                  <a:pt x="4109271" y="841671"/>
                  <a:pt x="4114647" y="840134"/>
                </a:cubicBezTo>
                <a:cubicBezTo>
                  <a:pt x="4123961" y="837638"/>
                  <a:pt x="4130203" y="832549"/>
                  <a:pt x="4133563" y="823427"/>
                </a:cubicBezTo>
                <a:cubicBezTo>
                  <a:pt x="4139229" y="807681"/>
                  <a:pt x="4145949" y="792223"/>
                  <a:pt x="4151039" y="776284"/>
                </a:cubicBezTo>
                <a:cubicBezTo>
                  <a:pt x="4154591" y="765338"/>
                  <a:pt x="4161215" y="759289"/>
                  <a:pt x="4171489" y="754776"/>
                </a:cubicBezTo>
                <a:cubicBezTo>
                  <a:pt x="4177251" y="752280"/>
                  <a:pt x="4182243" y="746808"/>
                  <a:pt x="4186372" y="741718"/>
                </a:cubicBezTo>
                <a:cubicBezTo>
                  <a:pt x="4191365" y="735573"/>
                  <a:pt x="4193957" y="727412"/>
                  <a:pt x="4199429" y="721940"/>
                </a:cubicBezTo>
                <a:cubicBezTo>
                  <a:pt x="4212775" y="708305"/>
                  <a:pt x="4216905" y="693231"/>
                  <a:pt x="4212487" y="674604"/>
                </a:cubicBezTo>
                <a:cubicBezTo>
                  <a:pt x="4208551" y="658090"/>
                  <a:pt x="4218921" y="636006"/>
                  <a:pt x="4232555" y="632645"/>
                </a:cubicBezTo>
                <a:cubicBezTo>
                  <a:pt x="4247629" y="628900"/>
                  <a:pt x="4257999" y="619684"/>
                  <a:pt x="4268657" y="609410"/>
                </a:cubicBezTo>
                <a:cubicBezTo>
                  <a:pt x="4274609" y="603649"/>
                  <a:pt x="4282963" y="598656"/>
                  <a:pt x="4291028" y="597216"/>
                </a:cubicBezTo>
                <a:cubicBezTo>
                  <a:pt x="4321657" y="591647"/>
                  <a:pt x="4350557" y="598464"/>
                  <a:pt x="4379651" y="609506"/>
                </a:cubicBezTo>
                <a:cubicBezTo>
                  <a:pt x="4398661" y="616707"/>
                  <a:pt x="4419784" y="618627"/>
                  <a:pt x="4440139" y="621507"/>
                </a:cubicBezTo>
                <a:cubicBezTo>
                  <a:pt x="4446477" y="622371"/>
                  <a:pt x="4454542" y="620452"/>
                  <a:pt x="4460015" y="616899"/>
                </a:cubicBezTo>
                <a:cubicBezTo>
                  <a:pt x="4479218" y="604609"/>
                  <a:pt x="4498325" y="591935"/>
                  <a:pt x="4516183" y="577724"/>
                </a:cubicBezTo>
                <a:cubicBezTo>
                  <a:pt x="4532795" y="564379"/>
                  <a:pt x="4551517" y="558810"/>
                  <a:pt x="4571681" y="560250"/>
                </a:cubicBezTo>
                <a:cubicBezTo>
                  <a:pt x="4586371" y="561306"/>
                  <a:pt x="4599621" y="558905"/>
                  <a:pt x="4613447" y="555257"/>
                </a:cubicBezTo>
                <a:cubicBezTo>
                  <a:pt x="4624969" y="552185"/>
                  <a:pt x="4637643" y="550072"/>
                  <a:pt x="4649355" y="551417"/>
                </a:cubicBezTo>
                <a:cubicBezTo>
                  <a:pt x="4665775" y="553337"/>
                  <a:pt x="4679313" y="550553"/>
                  <a:pt x="4692467" y="540663"/>
                </a:cubicBezTo>
                <a:cubicBezTo>
                  <a:pt x="4699476" y="535382"/>
                  <a:pt x="4708502" y="532598"/>
                  <a:pt x="4716855" y="528949"/>
                </a:cubicBezTo>
                <a:cubicBezTo>
                  <a:pt x="4729721" y="523284"/>
                  <a:pt x="4743067" y="518483"/>
                  <a:pt x="4755645" y="512147"/>
                </a:cubicBezTo>
                <a:cubicBezTo>
                  <a:pt x="4769183" y="505425"/>
                  <a:pt x="4781569" y="496112"/>
                  <a:pt x="4795395" y="490351"/>
                </a:cubicBezTo>
                <a:cubicBezTo>
                  <a:pt x="4810278" y="484110"/>
                  <a:pt x="4819879" y="474605"/>
                  <a:pt x="4825928" y="459818"/>
                </a:cubicBezTo>
                <a:cubicBezTo>
                  <a:pt x="4829769" y="450504"/>
                  <a:pt x="4835049" y="440615"/>
                  <a:pt x="4842347" y="434086"/>
                </a:cubicBezTo>
                <a:cubicBezTo>
                  <a:pt x="4857422" y="420740"/>
                  <a:pt x="4875087" y="410370"/>
                  <a:pt x="4890451" y="397216"/>
                </a:cubicBezTo>
                <a:cubicBezTo>
                  <a:pt x="4912054" y="378781"/>
                  <a:pt x="4932025" y="359194"/>
                  <a:pt x="4933945" y="327701"/>
                </a:cubicBezTo>
                <a:cubicBezTo>
                  <a:pt x="4935001" y="310322"/>
                  <a:pt x="4944219" y="302929"/>
                  <a:pt x="4961214" y="298801"/>
                </a:cubicBezTo>
                <a:cubicBezTo>
                  <a:pt x="4966878" y="297457"/>
                  <a:pt x="4974945" y="294864"/>
                  <a:pt x="4976672" y="290639"/>
                </a:cubicBezTo>
                <a:cubicBezTo>
                  <a:pt x="4981857" y="278061"/>
                  <a:pt x="4992610" y="275565"/>
                  <a:pt x="5002979" y="270573"/>
                </a:cubicBezTo>
                <a:cubicBezTo>
                  <a:pt x="5009221" y="267596"/>
                  <a:pt x="5016903" y="261739"/>
                  <a:pt x="5018535" y="255690"/>
                </a:cubicBezTo>
                <a:cubicBezTo>
                  <a:pt x="5025255" y="231206"/>
                  <a:pt x="5043690" y="216804"/>
                  <a:pt x="5061069" y="200961"/>
                </a:cubicBezTo>
                <a:cubicBezTo>
                  <a:pt x="5066158" y="196256"/>
                  <a:pt x="5071631" y="190879"/>
                  <a:pt x="5074127" y="184735"/>
                </a:cubicBezTo>
                <a:cubicBezTo>
                  <a:pt x="5079409" y="171484"/>
                  <a:pt x="5087281" y="161882"/>
                  <a:pt x="5101108" y="156891"/>
                </a:cubicBezTo>
                <a:cubicBezTo>
                  <a:pt x="5105524" y="155354"/>
                  <a:pt x="5109557" y="151801"/>
                  <a:pt x="5112918" y="148441"/>
                </a:cubicBezTo>
                <a:cubicBezTo>
                  <a:pt x="5120119" y="141144"/>
                  <a:pt x="5126167" y="132598"/>
                  <a:pt x="5133753" y="125782"/>
                </a:cubicBezTo>
                <a:cubicBezTo>
                  <a:pt x="5153051" y="108211"/>
                  <a:pt x="5172159" y="90928"/>
                  <a:pt x="5183393" y="66348"/>
                </a:cubicBezTo>
                <a:cubicBezTo>
                  <a:pt x="5188865" y="54346"/>
                  <a:pt x="5195107" y="41288"/>
                  <a:pt x="5204709" y="33030"/>
                </a:cubicBezTo>
                <a:cubicBezTo>
                  <a:pt x="5216903" y="22565"/>
                  <a:pt x="5232937" y="16612"/>
                  <a:pt x="5247243" y="8451"/>
                </a:cubicBezTo>
                <a:close/>
              </a:path>
            </a:pathLst>
          </a:custGeom>
          <a:blipFill dpi="0" rotWithShape="1">
            <a:blip r:embed="rId3">
              <a:alphaModFix amt="57000"/>
            </a:blip>
            <a:srcRect/>
            <a:tile tx="0" ty="0" sx="100000" sy="100000" flip="none" algn="tl"/>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Tree>
    <p:extLst>
      <p:ext uri="{BB962C8B-B14F-4D97-AF65-F5344CB8AC3E}">
        <p14:creationId xmlns:p14="http://schemas.microsoft.com/office/powerpoint/2010/main" val="1098572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1" name="Rectangle 10">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3" name="Rectangle 12">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5" name="Rectangle 14">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0B0004020202020204"/>
              <a:ea typeface="+mn-ea"/>
              <a:cs typeface="+mn-cs"/>
            </a:endParaRPr>
          </a:p>
        </p:txBody>
      </p:sp>
      <p:sp>
        <p:nvSpPr>
          <p:cNvPr id="2" name="Title 1">
            <a:extLst>
              <a:ext uri="{FF2B5EF4-FFF2-40B4-BE49-F238E27FC236}">
                <a16:creationId xmlns:a16="http://schemas.microsoft.com/office/drawing/2014/main" id="{9C6922C4-D06A-887D-8F3B-A71FBB29440A}"/>
              </a:ext>
            </a:extLst>
          </p:cNvPr>
          <p:cNvSpPr>
            <a:spLocks noGrp="1"/>
          </p:cNvSpPr>
          <p:nvPr>
            <p:ph type="title"/>
          </p:nvPr>
        </p:nvSpPr>
        <p:spPr>
          <a:xfrm>
            <a:off x="1371597" y="348865"/>
            <a:ext cx="10044023" cy="877729"/>
          </a:xfrm>
        </p:spPr>
        <p:txBody>
          <a:bodyPr anchor="ctr">
            <a:normAutofit/>
          </a:bodyPr>
          <a:lstStyle/>
          <a:p>
            <a:r>
              <a:rPr lang="en-US" sz="4000">
                <a:solidFill>
                  <a:srgbClr val="FFFFFF"/>
                </a:solidFill>
              </a:rPr>
              <a:t>Origin Story </a:t>
            </a:r>
          </a:p>
        </p:txBody>
      </p:sp>
      <p:graphicFrame>
        <p:nvGraphicFramePr>
          <p:cNvPr id="5" name="Content Placeholder 2">
            <a:extLst>
              <a:ext uri="{FF2B5EF4-FFF2-40B4-BE49-F238E27FC236}">
                <a16:creationId xmlns:a16="http://schemas.microsoft.com/office/drawing/2014/main" id="{7D9576B5-4446-6FEA-0E01-AA28083AE825}"/>
              </a:ext>
            </a:extLst>
          </p:cNvPr>
          <p:cNvGraphicFramePr>
            <a:graphicFrameLocks noGrp="1"/>
          </p:cNvGraphicFramePr>
          <p:nvPr>
            <p:ph idx="1"/>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9" name="Picture 18" descr="Why do we love origin stories? | Third Space">
            <a:extLst>
              <a:ext uri="{FF2B5EF4-FFF2-40B4-BE49-F238E27FC236}">
                <a16:creationId xmlns:a16="http://schemas.microsoft.com/office/drawing/2014/main" id="{84EAD80E-F5F3-22D4-60F4-60ECD165AC50}"/>
              </a:ext>
            </a:extLst>
          </p:cNvPr>
          <p:cNvPicPr>
            <a:picLocks noChangeAspect="1"/>
          </p:cNvPicPr>
          <p:nvPr/>
        </p:nvPicPr>
        <p:blipFill>
          <a:blip r:embed="rId7"/>
          <a:stretch>
            <a:fillRect/>
          </a:stretch>
        </p:blipFill>
        <p:spPr>
          <a:xfrm>
            <a:off x="9448800" y="24591"/>
            <a:ext cx="2743200" cy="1545938"/>
          </a:xfrm>
          <a:prstGeom prst="rect">
            <a:avLst/>
          </a:prstGeom>
        </p:spPr>
      </p:pic>
    </p:spTree>
    <p:extLst>
      <p:ext uri="{BB962C8B-B14F-4D97-AF65-F5344CB8AC3E}">
        <p14:creationId xmlns:p14="http://schemas.microsoft.com/office/powerpoint/2010/main" val="31635851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9257" y="-17218"/>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a:p>
        </p:txBody>
      </p:sp>
      <p:sp>
        <p:nvSpPr>
          <p:cNvPr id="3" name="Freeform 3"/>
          <p:cNvSpPr/>
          <p:nvPr/>
        </p:nvSpPr>
        <p:spPr>
          <a:xfrm rot="5400000">
            <a:off x="4107635" y="3599727"/>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4" name="Freeform 4"/>
          <p:cNvSpPr/>
          <p:nvPr/>
        </p:nvSpPr>
        <p:spPr>
          <a:xfrm>
            <a:off x="5965066" y="1287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sp>
        <p:nvSpPr>
          <p:cNvPr id="5" name="Freeform 5"/>
          <p:cNvSpPr/>
          <p:nvPr/>
        </p:nvSpPr>
        <p:spPr>
          <a:xfrm>
            <a:off x="5965066" y="2943709"/>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sp>
        <p:nvSpPr>
          <p:cNvPr id="7" name="Freeform 7"/>
          <p:cNvSpPr/>
          <p:nvPr/>
        </p:nvSpPr>
        <p:spPr>
          <a:xfrm>
            <a:off x="5965066" y="4716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grpSp>
        <p:nvGrpSpPr>
          <p:cNvPr id="8" name="Group 8"/>
          <p:cNvGrpSpPr/>
          <p:nvPr/>
        </p:nvGrpSpPr>
        <p:grpSpPr>
          <a:xfrm>
            <a:off x="6021371" y="1323515"/>
            <a:ext cx="327139" cy="327139"/>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57150" cap="sq">
              <a:solidFill>
                <a:srgbClr val="FFFFFF"/>
              </a:solidFill>
              <a:prstDash val="solid"/>
              <a:miter/>
            </a:ln>
          </p:spPr>
        </p:sp>
        <p:sp>
          <p:nvSpPr>
            <p:cNvPr id="10" name="TextBox 10"/>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11" name="Group 11"/>
          <p:cNvGrpSpPr/>
          <p:nvPr/>
        </p:nvGrpSpPr>
        <p:grpSpPr>
          <a:xfrm>
            <a:off x="6021371" y="2981507"/>
            <a:ext cx="327139" cy="327139"/>
            <a:chOff x="0" y="0"/>
            <a:chExt cx="812800" cy="812800"/>
          </a:xfrm>
        </p:grpSpPr>
        <p:sp>
          <p:nvSpPr>
            <p:cNvPr id="12" name="Freeform 1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51F19"/>
            </a:solidFill>
            <a:ln w="57150" cap="sq">
              <a:solidFill>
                <a:srgbClr val="FFFFFF"/>
              </a:solidFill>
              <a:prstDash val="solid"/>
              <a:miter/>
            </a:ln>
          </p:spPr>
        </p:sp>
        <p:sp>
          <p:nvSpPr>
            <p:cNvPr id="13" name="TextBox 13"/>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17" name="Group 17"/>
          <p:cNvGrpSpPr/>
          <p:nvPr/>
        </p:nvGrpSpPr>
        <p:grpSpPr>
          <a:xfrm>
            <a:off x="6021371" y="4752515"/>
            <a:ext cx="327139" cy="327139"/>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D3733"/>
            </a:solidFill>
            <a:ln w="57150" cap="sq">
              <a:solidFill>
                <a:srgbClr val="FFFFFF"/>
              </a:solidFill>
              <a:prstDash val="solid"/>
              <a:miter/>
            </a:ln>
          </p:spPr>
        </p:sp>
        <p:sp>
          <p:nvSpPr>
            <p:cNvPr id="19" name="TextBox 19"/>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3" name="TextBox 33"/>
          <p:cNvSpPr txBox="1"/>
          <p:nvPr/>
        </p:nvSpPr>
        <p:spPr>
          <a:xfrm>
            <a:off x="6763560" y="1670200"/>
            <a:ext cx="4098815" cy="1077218"/>
          </a:xfrm>
          <a:prstGeom prst="rect">
            <a:avLst/>
          </a:prstGeom>
        </p:spPr>
        <p:txBody>
          <a:bodyPr lIns="0" tIns="0" rIns="0" bIns="0" rtlCol="0" anchor="t">
            <a:spAutoFit/>
          </a:bodyPr>
          <a:lstStyle/>
          <a:p>
            <a:pPr defTabSz="304815">
              <a:defRPr/>
            </a:pPr>
            <a:r>
              <a:rPr lang="en-US" sz="1400" dirty="0">
                <a:solidFill>
                  <a:srgbClr val="242424"/>
                </a:solidFill>
                <a:latin typeface="Public Sans"/>
                <a:cs typeface="Arial"/>
              </a:rPr>
              <a:t>The members of the Ohio Technical Skills Innovation Network, or Ohio TechNet, are nationally recognized for partnering with industry to implement collaborative, innovative solutions that meet manufacturing and tech workforce needs.  </a:t>
            </a:r>
          </a:p>
        </p:txBody>
      </p:sp>
      <p:sp>
        <p:nvSpPr>
          <p:cNvPr id="34" name="TextBox 34"/>
          <p:cNvSpPr txBox="1"/>
          <p:nvPr/>
        </p:nvSpPr>
        <p:spPr>
          <a:xfrm>
            <a:off x="6763560" y="3294667"/>
            <a:ext cx="4098815" cy="861774"/>
          </a:xfrm>
          <a:prstGeom prst="rect">
            <a:avLst/>
          </a:prstGeom>
        </p:spPr>
        <p:txBody>
          <a:bodyPr lIns="0" tIns="0" rIns="0" bIns="0" rtlCol="0" anchor="t">
            <a:spAutoFit/>
          </a:bodyPr>
          <a:lstStyle/>
          <a:p>
            <a:r>
              <a:rPr lang="en-US" sz="1400" dirty="0">
                <a:solidFill>
                  <a:srgbClr val="242424"/>
                </a:solidFill>
                <a:latin typeface="Public Sans"/>
                <a:cs typeface="Arial"/>
              </a:rPr>
              <a:t>Ohio TechNet supports workforce development and academic professionals to incubate, develop and sustain programming that accelerates the growth of Ohio’s manufacturing &amp; technical workforce. </a:t>
            </a:r>
          </a:p>
        </p:txBody>
      </p:sp>
      <p:sp>
        <p:nvSpPr>
          <p:cNvPr id="35" name="TextBox 35"/>
          <p:cNvSpPr txBox="1"/>
          <p:nvPr/>
        </p:nvSpPr>
        <p:spPr>
          <a:xfrm>
            <a:off x="890539" y="1752773"/>
            <a:ext cx="5029676" cy="253852"/>
          </a:xfrm>
          <a:prstGeom prst="rect">
            <a:avLst/>
          </a:prstGeom>
        </p:spPr>
        <p:txBody>
          <a:bodyPr wrap="square" lIns="0" tIns="0" rIns="0" bIns="0" rtlCol="0" anchor="t">
            <a:spAutoFit/>
          </a:bodyPr>
          <a:lstStyle/>
          <a:p>
            <a:pPr>
              <a:lnSpc>
                <a:spcPts val="2147"/>
              </a:lnSpc>
            </a:pPr>
            <a:r>
              <a:rPr lang="en-US" sz="1600" b="1" dirty="0">
                <a:solidFill>
                  <a:srgbClr val="1D1A1B"/>
                </a:solidFill>
                <a:latin typeface="Public Sans"/>
                <a:ea typeface="Public Sans"/>
                <a:cs typeface="Public Sans"/>
                <a:sym typeface="Public Sans"/>
              </a:rPr>
              <a:t>Partners in Training Ohio’s Manufacturing Workforce</a:t>
            </a:r>
          </a:p>
        </p:txBody>
      </p:sp>
      <p:sp>
        <p:nvSpPr>
          <p:cNvPr id="36" name="TextBox 36"/>
          <p:cNvSpPr txBox="1"/>
          <p:nvPr/>
        </p:nvSpPr>
        <p:spPr>
          <a:xfrm>
            <a:off x="6763559" y="132410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Vision</a:t>
            </a:r>
          </a:p>
        </p:txBody>
      </p:sp>
      <p:sp>
        <p:nvSpPr>
          <p:cNvPr id="37" name="TextBox 37"/>
          <p:cNvSpPr txBox="1"/>
          <p:nvPr/>
        </p:nvSpPr>
        <p:spPr>
          <a:xfrm>
            <a:off x="6763559" y="296673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Mission</a:t>
            </a:r>
          </a:p>
        </p:txBody>
      </p:sp>
      <p:sp>
        <p:nvSpPr>
          <p:cNvPr id="38" name="TextBox 38"/>
          <p:cNvSpPr txBox="1"/>
          <p:nvPr/>
        </p:nvSpPr>
        <p:spPr>
          <a:xfrm>
            <a:off x="6763560" y="4919134"/>
            <a:ext cx="4098815" cy="1077218"/>
          </a:xfrm>
          <a:prstGeom prst="rect">
            <a:avLst/>
          </a:prstGeom>
        </p:spPr>
        <p:txBody>
          <a:bodyPr lIns="0" tIns="0" rIns="0" bIns="0" rtlCol="0" anchor="t">
            <a:spAutoFit/>
          </a:bodyPr>
          <a:lstStyle/>
          <a:p>
            <a:r>
              <a:rPr lang="en-US" sz="1400" dirty="0">
                <a:latin typeface="Public Sans" panose="020B0604020202020204" charset="0"/>
                <a:cs typeface="Arial" panose="020B0604020202020204" pitchFamily="34" charset="0"/>
              </a:rPr>
              <a:t>Ohio TechNet partners benefit from peer-to-peer collaboration, technical assistance and access to resources, making program expansion and innovation at their institution more efficient, faster to implement and easier to sustain.</a:t>
            </a:r>
            <a:endParaRPr lang="en-US" sz="1000" dirty="0">
              <a:latin typeface="Public Sans" panose="020B0604020202020204" charset="0"/>
              <a:cs typeface="Arial" panose="020B0604020202020204" pitchFamily="34" charset="0"/>
              <a:sym typeface="Wingdings" panose="05000000000000000000" pitchFamily="2" charset="2"/>
            </a:endParaRPr>
          </a:p>
        </p:txBody>
      </p:sp>
      <p:sp>
        <p:nvSpPr>
          <p:cNvPr id="39" name="TextBox 39"/>
          <p:cNvSpPr txBox="1"/>
          <p:nvPr/>
        </p:nvSpPr>
        <p:spPr>
          <a:xfrm>
            <a:off x="6763559" y="464051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Purpos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7">
              <a:extLst>
                <a:ext uri="{96DAC541-7B7A-43D3-8B79-37D633B846F1}">
                  <asvg:svgBlip xmlns:asvg="http://schemas.microsoft.com/office/drawing/2016/SVG/main" r:embed="rId8"/>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5">
              <a:extLst>
                <a:ext uri="{96DAC541-7B7A-43D3-8B79-37D633B846F1}">
                  <asvg:svgBlip xmlns:asvg="http://schemas.microsoft.com/office/drawing/2016/SVG/main" r:embed="rId16"/>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7">
              <a:extLst>
                <a:ext uri="{96DAC541-7B7A-43D3-8B79-37D633B846F1}">
                  <asvg:svgBlip xmlns:asvg="http://schemas.microsoft.com/office/drawing/2016/SVG/main" r:embed="rId18"/>
                </a:ext>
              </a:extLst>
            </a:blip>
            <a:stretch>
              <a:fillRect/>
            </a:stretch>
          </a:blipFill>
        </p:spPr>
      </p:sp>
      <p:pic>
        <p:nvPicPr>
          <p:cNvPr id="48" name="Picture 47">
            <a:extLst>
              <a:ext uri="{FF2B5EF4-FFF2-40B4-BE49-F238E27FC236}">
                <a16:creationId xmlns:a16="http://schemas.microsoft.com/office/drawing/2014/main" id="{6F4C4BFA-F5B1-4273-A382-C8407AD37B41}"/>
              </a:ext>
            </a:extLst>
          </p:cNvPr>
          <p:cNvPicPr>
            <a:picLocks noChangeAspect="1"/>
          </p:cNvPicPr>
          <p:nvPr/>
        </p:nvPicPr>
        <p:blipFill>
          <a:blip r:embed="rId19">
            <a:clrChange>
              <a:clrFrom>
                <a:srgbClr val="353535"/>
              </a:clrFrom>
              <a:clrTo>
                <a:srgbClr val="353535">
                  <a:alpha val="0"/>
                </a:srgbClr>
              </a:clrTo>
            </a:clrChange>
          </a:blip>
          <a:stretch>
            <a:fillRect/>
          </a:stretch>
        </p:blipFill>
        <p:spPr>
          <a:xfrm>
            <a:off x="743472" y="2389910"/>
            <a:ext cx="3553697" cy="3344231"/>
          </a:xfrm>
          <a:prstGeom prst="rect">
            <a:avLst/>
          </a:prstGeom>
        </p:spPr>
      </p:pic>
      <p:sp>
        <p:nvSpPr>
          <p:cNvPr id="50" name="TextBox 49">
            <a:extLst>
              <a:ext uri="{FF2B5EF4-FFF2-40B4-BE49-F238E27FC236}">
                <a16:creationId xmlns:a16="http://schemas.microsoft.com/office/drawing/2014/main" id="{E2B64ADE-BC38-4898-A680-01C062154ABF}"/>
              </a:ext>
            </a:extLst>
          </p:cNvPr>
          <p:cNvSpPr txBox="1"/>
          <p:nvPr/>
        </p:nvSpPr>
        <p:spPr>
          <a:xfrm>
            <a:off x="3968580" y="4230745"/>
            <a:ext cx="2150553" cy="1384995"/>
          </a:xfrm>
          <a:prstGeom prst="rect">
            <a:avLst/>
          </a:prstGeom>
          <a:noFill/>
        </p:spPr>
        <p:txBody>
          <a:bodyPr wrap="square" rtlCol="0">
            <a:spAutoFit/>
          </a:bodyPr>
          <a:lstStyle/>
          <a:p>
            <a:r>
              <a:rPr lang="en-US" sz="1200" b="1" dirty="0">
                <a:latin typeface="Public Sans" panose="020B0604020202020204" charset="0"/>
              </a:rPr>
              <a:t>OTN Members:</a:t>
            </a:r>
          </a:p>
          <a:p>
            <a:endParaRPr lang="en-US" sz="1200" dirty="0">
              <a:latin typeface="Public Sans" panose="020B0604020202020204" charset="0"/>
            </a:endParaRPr>
          </a:p>
          <a:p>
            <a:r>
              <a:rPr lang="en-US" sz="1200" dirty="0">
                <a:latin typeface="Public Sans" panose="020B0604020202020204" charset="0"/>
              </a:rPr>
              <a:t>     Community College</a:t>
            </a:r>
            <a:br>
              <a:rPr lang="en-US" sz="1200" dirty="0">
                <a:latin typeface="Public Sans" panose="020B0604020202020204" charset="0"/>
              </a:rPr>
            </a:br>
            <a:br>
              <a:rPr lang="en-US" sz="1200" dirty="0">
                <a:latin typeface="Public Sans" panose="020B0604020202020204" charset="0"/>
              </a:rPr>
            </a:br>
            <a:r>
              <a:rPr lang="en-US" sz="1200" dirty="0">
                <a:latin typeface="Public Sans" panose="020B0604020202020204" charset="0"/>
              </a:rPr>
              <a:t>     Technical Center</a:t>
            </a:r>
            <a:br>
              <a:rPr lang="en-US" sz="1200" dirty="0">
                <a:latin typeface="Public Sans" panose="020B0604020202020204" charset="0"/>
              </a:rPr>
            </a:br>
            <a:br>
              <a:rPr lang="en-US" sz="1200" dirty="0">
                <a:latin typeface="Public Sans" panose="020B0604020202020204" charset="0"/>
              </a:rPr>
            </a:br>
            <a:r>
              <a:rPr lang="en-US" sz="1200" dirty="0">
                <a:latin typeface="Public Sans" panose="020B0604020202020204" charset="0"/>
              </a:rPr>
              <a:t>     University</a:t>
            </a:r>
          </a:p>
        </p:txBody>
      </p:sp>
      <p:sp>
        <p:nvSpPr>
          <p:cNvPr id="51" name="Oval 50">
            <a:extLst>
              <a:ext uri="{FF2B5EF4-FFF2-40B4-BE49-F238E27FC236}">
                <a16:creationId xmlns:a16="http://schemas.microsoft.com/office/drawing/2014/main" id="{09996A10-775D-497B-B0D7-C59BBE74637B}"/>
              </a:ext>
            </a:extLst>
          </p:cNvPr>
          <p:cNvSpPr/>
          <p:nvPr/>
        </p:nvSpPr>
        <p:spPr>
          <a:xfrm>
            <a:off x="4019465" y="4643317"/>
            <a:ext cx="121920" cy="112792"/>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Oval 51">
            <a:extLst>
              <a:ext uri="{FF2B5EF4-FFF2-40B4-BE49-F238E27FC236}">
                <a16:creationId xmlns:a16="http://schemas.microsoft.com/office/drawing/2014/main" id="{DC2FC20D-AE07-4D49-BBCA-B0E2DFAF9A5D}"/>
              </a:ext>
            </a:extLst>
          </p:cNvPr>
          <p:cNvSpPr/>
          <p:nvPr/>
        </p:nvSpPr>
        <p:spPr>
          <a:xfrm>
            <a:off x="4014547" y="5030089"/>
            <a:ext cx="121920" cy="112792"/>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3" name="Oval 52">
            <a:extLst>
              <a:ext uri="{FF2B5EF4-FFF2-40B4-BE49-F238E27FC236}">
                <a16:creationId xmlns:a16="http://schemas.microsoft.com/office/drawing/2014/main" id="{9F82D114-AD92-4586-AD14-886FCC1EDA88}"/>
              </a:ext>
            </a:extLst>
          </p:cNvPr>
          <p:cNvSpPr/>
          <p:nvPr/>
        </p:nvSpPr>
        <p:spPr>
          <a:xfrm>
            <a:off x="4019465" y="5374447"/>
            <a:ext cx="121920" cy="112792"/>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20">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844129" y="1004853"/>
            <a:ext cx="2723636" cy="727072"/>
          </a:xfrm>
          <a:prstGeom prst="rect">
            <a:avLst/>
          </a:prstGeom>
        </p:spPr>
      </p:pic>
    </p:spTree>
    <p:extLst>
      <p:ext uri="{BB962C8B-B14F-4D97-AF65-F5344CB8AC3E}">
        <p14:creationId xmlns:p14="http://schemas.microsoft.com/office/powerpoint/2010/main" val="488215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0B0004020202020204"/>
              <a:ea typeface="+mn-ea"/>
              <a:cs typeface="+mn-cs"/>
            </a:endParaRPr>
          </a:p>
        </p:txBody>
      </p:sp>
      <p:sp>
        <p:nvSpPr>
          <p:cNvPr id="10" name="Freeform: Shape 9">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0B0004020202020204"/>
              <a:ea typeface="+mn-ea"/>
              <a:cs typeface="+mn-cs"/>
            </a:endParaRPr>
          </a:p>
        </p:txBody>
      </p:sp>
      <p:sp>
        <p:nvSpPr>
          <p:cNvPr id="12" name="Rectangle 11">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4" name="Rectangle 13">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6" name="Freeform: Shape 15">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0B0004020202020204"/>
              <a:ea typeface="+mn-ea"/>
              <a:cs typeface="+mn-cs"/>
            </a:endParaRPr>
          </a:p>
        </p:txBody>
      </p:sp>
      <p:sp>
        <p:nvSpPr>
          <p:cNvPr id="18" name="Isosceles Triangle 17">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3" name="Picture 2" descr="A map of the state of ohio&#10;&#10;AI-generated content may be incorrect.">
            <a:extLst>
              <a:ext uri="{FF2B5EF4-FFF2-40B4-BE49-F238E27FC236}">
                <a16:creationId xmlns:a16="http://schemas.microsoft.com/office/drawing/2014/main" id="{7E3E1A24-C24F-8719-C137-C4A57B95D7CB}"/>
              </a:ext>
            </a:extLst>
          </p:cNvPr>
          <p:cNvPicPr>
            <a:picLocks noChangeAspect="1"/>
          </p:cNvPicPr>
          <p:nvPr/>
        </p:nvPicPr>
        <p:blipFill>
          <a:blip r:embed="rId2"/>
          <a:stretch>
            <a:fillRect/>
          </a:stretch>
        </p:blipFill>
        <p:spPr>
          <a:xfrm>
            <a:off x="3328490" y="4732"/>
            <a:ext cx="5490196" cy="6848535"/>
          </a:xfrm>
          <a:prstGeom prst="rect">
            <a:avLst/>
          </a:prstGeom>
          <a:ln>
            <a:noFill/>
          </a:ln>
        </p:spPr>
      </p:pic>
      <p:sp>
        <p:nvSpPr>
          <p:cNvPr id="20" name="Isosceles Triangle 19">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Tree>
    <p:extLst>
      <p:ext uri="{BB962C8B-B14F-4D97-AF65-F5344CB8AC3E}">
        <p14:creationId xmlns:p14="http://schemas.microsoft.com/office/powerpoint/2010/main" val="10365235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2659FDB4-FCBE-4A89-B46D-43D4FA5446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313"/>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2" name="Title 1">
            <a:extLst>
              <a:ext uri="{FF2B5EF4-FFF2-40B4-BE49-F238E27FC236}">
                <a16:creationId xmlns:a16="http://schemas.microsoft.com/office/drawing/2014/main" id="{59ACF095-5080-A561-B72F-ECBC6790522D}"/>
              </a:ext>
            </a:extLst>
          </p:cNvPr>
          <p:cNvSpPr>
            <a:spLocks noGrp="1"/>
          </p:cNvSpPr>
          <p:nvPr>
            <p:ph type="title"/>
          </p:nvPr>
        </p:nvSpPr>
        <p:spPr>
          <a:xfrm>
            <a:off x="479394" y="1070800"/>
            <a:ext cx="3939688" cy="5583126"/>
          </a:xfrm>
        </p:spPr>
        <p:txBody>
          <a:bodyPr>
            <a:normAutofit/>
          </a:bodyPr>
          <a:lstStyle/>
          <a:p>
            <a:pPr algn="r"/>
            <a:r>
              <a:rPr lang="en-US" sz="5600"/>
              <a:t>Partnerships</a:t>
            </a:r>
          </a:p>
        </p:txBody>
      </p:sp>
      <p:cxnSp>
        <p:nvCxnSpPr>
          <p:cNvPr id="26" name="Straight Connector 25">
            <a:extLst>
              <a:ext uri="{FF2B5EF4-FFF2-40B4-BE49-F238E27FC236}">
                <a16:creationId xmlns:a16="http://schemas.microsoft.com/office/drawing/2014/main" id="{C8F51B3F-8331-4E4A-AE96-D47B1006EEA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28053" y="1132114"/>
            <a:ext cx="0" cy="5717573"/>
          </a:xfrm>
          <a:prstGeom prst="line">
            <a:avLst/>
          </a:prstGeom>
          <a:ln w="25400" cap="sq">
            <a:gradFill flip="none" rotWithShape="1">
              <a:gsLst>
                <a:gs pos="0">
                  <a:schemeClr val="accent1"/>
                </a:gs>
                <a:gs pos="100000">
                  <a:schemeClr val="accent2"/>
                </a:gs>
              </a:gsLst>
              <a:lin ang="16200000" scaled="1"/>
              <a:tileRect/>
            </a:gradFill>
            <a:beve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E8AB2424-2BB3-E22B-ED3D-BB4700D5D2BD}"/>
              </a:ext>
            </a:extLst>
          </p:cNvPr>
          <p:cNvGraphicFramePr>
            <a:graphicFrameLocks noGrp="1"/>
          </p:cNvGraphicFramePr>
          <p:nvPr>
            <p:ph idx="1"/>
          </p:nvPr>
        </p:nvGraphicFramePr>
        <p:xfrm>
          <a:off x="5108535" y="1070800"/>
          <a:ext cx="6245265" cy="55893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063019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7" name="Rectangle 36">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39" name="Rectangle 38">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41" name="Rectangle 40">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43" name="Rectangle 42">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0B0004020202020204"/>
              <a:ea typeface="+mn-ea"/>
              <a:cs typeface="+mn-cs"/>
            </a:endParaRPr>
          </a:p>
        </p:txBody>
      </p:sp>
      <p:sp>
        <p:nvSpPr>
          <p:cNvPr id="2" name="Title 1">
            <a:extLst>
              <a:ext uri="{FF2B5EF4-FFF2-40B4-BE49-F238E27FC236}">
                <a16:creationId xmlns:a16="http://schemas.microsoft.com/office/drawing/2014/main" id="{92EC7755-3FDE-8583-D2AD-06500C5A5A9E}"/>
              </a:ext>
            </a:extLst>
          </p:cNvPr>
          <p:cNvSpPr>
            <a:spLocks noGrp="1"/>
          </p:cNvSpPr>
          <p:nvPr>
            <p:ph type="title"/>
          </p:nvPr>
        </p:nvSpPr>
        <p:spPr>
          <a:xfrm>
            <a:off x="1371597" y="348865"/>
            <a:ext cx="10044023" cy="877729"/>
          </a:xfrm>
        </p:spPr>
        <p:txBody>
          <a:bodyPr anchor="ctr">
            <a:normAutofit/>
          </a:bodyPr>
          <a:lstStyle/>
          <a:p>
            <a:r>
              <a:rPr lang="en-US" sz="4000">
                <a:solidFill>
                  <a:srgbClr val="FFFFFF"/>
                </a:solidFill>
              </a:rPr>
              <a:t>Programming Models</a:t>
            </a:r>
          </a:p>
        </p:txBody>
      </p:sp>
      <p:graphicFrame>
        <p:nvGraphicFramePr>
          <p:cNvPr id="32" name="Content Placeholder 2">
            <a:extLst>
              <a:ext uri="{FF2B5EF4-FFF2-40B4-BE49-F238E27FC236}">
                <a16:creationId xmlns:a16="http://schemas.microsoft.com/office/drawing/2014/main" id="{B2192F6B-71BF-1437-3AB2-C4853B3DB359}"/>
              </a:ext>
            </a:extLst>
          </p:cNvPr>
          <p:cNvGraphicFramePr>
            <a:graphicFrameLocks noGrp="1"/>
          </p:cNvGraphicFramePr>
          <p:nvPr>
            <p:ph idx="1"/>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291454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CBB6911-7A3D-179D-B7D1-40FDD232B9BE}"/>
              </a:ext>
            </a:extLst>
          </p:cNvPr>
          <p:cNvPicPr>
            <a:picLocks noChangeAspect="1"/>
          </p:cNvPicPr>
          <p:nvPr/>
        </p:nvPicPr>
        <p:blipFill>
          <a:blip r:embed="rId2">
            <a:duotone>
              <a:schemeClr val="bg2">
                <a:shade val="45000"/>
                <a:satMod val="135000"/>
              </a:schemeClr>
              <a:prstClr val="white"/>
            </a:duotone>
          </a:blip>
          <a:srcRect t="1353" r="48" b="11482"/>
          <a:stretch>
            <a:fillRect/>
          </a:stretch>
        </p:blipFill>
        <p:spPr>
          <a:xfrm>
            <a:off x="20" y="10"/>
            <a:ext cx="12191980" cy="6857990"/>
          </a:xfrm>
          <a:prstGeom prst="rect">
            <a:avLst/>
          </a:prstGeom>
        </p:spPr>
      </p:pic>
      <p:sp>
        <p:nvSpPr>
          <p:cNvPr id="10" name="Rectangle 9">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2" name="Title 1">
            <a:extLst>
              <a:ext uri="{FF2B5EF4-FFF2-40B4-BE49-F238E27FC236}">
                <a16:creationId xmlns:a16="http://schemas.microsoft.com/office/drawing/2014/main" id="{CC0BF4CD-A64F-9009-C712-BC2FA87B9F34}"/>
              </a:ext>
            </a:extLst>
          </p:cNvPr>
          <p:cNvSpPr>
            <a:spLocks noGrp="1"/>
          </p:cNvSpPr>
          <p:nvPr>
            <p:ph type="title"/>
          </p:nvPr>
        </p:nvSpPr>
        <p:spPr>
          <a:xfrm>
            <a:off x="838200" y="365125"/>
            <a:ext cx="10515600" cy="1325563"/>
          </a:xfrm>
        </p:spPr>
        <p:txBody>
          <a:bodyPr>
            <a:normAutofit/>
          </a:bodyPr>
          <a:lstStyle/>
          <a:p>
            <a:r>
              <a:rPr lang="en-US" dirty="0"/>
              <a:t>Programming – A closer look</a:t>
            </a:r>
          </a:p>
        </p:txBody>
      </p:sp>
      <p:graphicFrame>
        <p:nvGraphicFramePr>
          <p:cNvPr id="13" name="Content Placeholder 2">
            <a:extLst>
              <a:ext uri="{FF2B5EF4-FFF2-40B4-BE49-F238E27FC236}">
                <a16:creationId xmlns:a16="http://schemas.microsoft.com/office/drawing/2014/main" id="{A3A33986-4D3D-301C-A742-7AC0D63F6E98}"/>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131697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2659FDB4-FCBE-4A89-B46D-43D4FA5446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313"/>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2" name="Title 1">
            <a:extLst>
              <a:ext uri="{FF2B5EF4-FFF2-40B4-BE49-F238E27FC236}">
                <a16:creationId xmlns:a16="http://schemas.microsoft.com/office/drawing/2014/main" id="{92383BE1-D206-69BE-CE21-FECB10026B3A}"/>
              </a:ext>
            </a:extLst>
          </p:cNvPr>
          <p:cNvSpPr>
            <a:spLocks noGrp="1"/>
          </p:cNvSpPr>
          <p:nvPr>
            <p:ph type="title"/>
          </p:nvPr>
        </p:nvSpPr>
        <p:spPr>
          <a:xfrm>
            <a:off x="479394" y="1070800"/>
            <a:ext cx="3939688" cy="5583126"/>
          </a:xfrm>
        </p:spPr>
        <p:txBody>
          <a:bodyPr>
            <a:normAutofit/>
          </a:bodyPr>
          <a:lstStyle/>
          <a:p>
            <a:pPr algn="r"/>
            <a:r>
              <a:rPr lang="en-US" sz="8000"/>
              <a:t>Funding </a:t>
            </a:r>
          </a:p>
        </p:txBody>
      </p:sp>
      <p:cxnSp>
        <p:nvCxnSpPr>
          <p:cNvPr id="20" name="Straight Connector 19">
            <a:extLst>
              <a:ext uri="{FF2B5EF4-FFF2-40B4-BE49-F238E27FC236}">
                <a16:creationId xmlns:a16="http://schemas.microsoft.com/office/drawing/2014/main" id="{C8F51B3F-8331-4E4A-AE96-D47B1006EEA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28053" y="1132114"/>
            <a:ext cx="0" cy="5717573"/>
          </a:xfrm>
          <a:prstGeom prst="line">
            <a:avLst/>
          </a:prstGeom>
          <a:ln w="25400" cap="sq">
            <a:gradFill flip="none" rotWithShape="1">
              <a:gsLst>
                <a:gs pos="0">
                  <a:schemeClr val="accent1"/>
                </a:gs>
                <a:gs pos="100000">
                  <a:schemeClr val="accent2"/>
                </a:gs>
              </a:gsLst>
              <a:lin ang="16200000" scaled="1"/>
              <a:tileRect/>
            </a:gradFill>
            <a:beve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05B34596-E61D-5996-8EA6-773B89AC4384}"/>
              </a:ext>
            </a:extLst>
          </p:cNvPr>
          <p:cNvGraphicFramePr>
            <a:graphicFrameLocks noGrp="1"/>
          </p:cNvGraphicFramePr>
          <p:nvPr>
            <p:ph idx="1"/>
          </p:nvPr>
        </p:nvGraphicFramePr>
        <p:xfrm>
          <a:off x="5108535" y="1070800"/>
          <a:ext cx="6245265" cy="55893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269616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43FCDA63-538C-4FB3-911D-7DF75B5993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21" name="Freeform: Shape 20">
            <a:extLst>
              <a:ext uri="{FF2B5EF4-FFF2-40B4-BE49-F238E27FC236}">
                <a16:creationId xmlns:a16="http://schemas.microsoft.com/office/drawing/2014/main" id="{C0F36B17-8009-453B-9C49-36A9D6F9D0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custGeom>
            <a:avLst/>
            <a:gdLst>
              <a:gd name="connsiteX0" fmla="*/ 5765387 w 12192000"/>
              <a:gd name="connsiteY0" fmla="*/ 552984 h 6858000"/>
              <a:gd name="connsiteX1" fmla="*/ 5743549 w 12192000"/>
              <a:gd name="connsiteY1" fmla="*/ 567982 h 6858000"/>
              <a:gd name="connsiteX2" fmla="*/ 5865186 w 12192000"/>
              <a:gd name="connsiteY2" fmla="*/ 624212 h 6858000"/>
              <a:gd name="connsiteX3" fmla="*/ 5674970 w 12192000"/>
              <a:gd name="connsiteY3" fmla="*/ 594618 h 6858000"/>
              <a:gd name="connsiteX4" fmla="*/ 5671722 w 12192000"/>
              <a:gd name="connsiteY4" fmla="*/ 613739 h 6858000"/>
              <a:gd name="connsiteX5" fmla="*/ 5887746 w 12192000"/>
              <a:gd name="connsiteY5" fmla="*/ 686133 h 6858000"/>
              <a:gd name="connsiteX6" fmla="*/ 5868434 w 12192000"/>
              <a:gd name="connsiteY6" fmla="*/ 697289 h 6858000"/>
              <a:gd name="connsiteX7" fmla="*/ 5753657 w 12192000"/>
              <a:gd name="connsiteY7" fmla="*/ 669287 h 6858000"/>
              <a:gd name="connsiteX8" fmla="*/ 5730555 w 12192000"/>
              <a:gd name="connsiteY8" fmla="*/ 676572 h 6858000"/>
              <a:gd name="connsiteX9" fmla="*/ 5741924 w 12192000"/>
              <a:gd name="connsiteY9" fmla="*/ 710491 h 6858000"/>
              <a:gd name="connsiteX10" fmla="*/ 5791735 w 12192000"/>
              <a:gd name="connsiteY10" fmla="*/ 723695 h 6858000"/>
              <a:gd name="connsiteX11" fmla="*/ 5869339 w 12192000"/>
              <a:gd name="connsiteY11" fmla="*/ 803376 h 6858000"/>
              <a:gd name="connsiteX12" fmla="*/ 5751851 w 12192000"/>
              <a:gd name="connsiteY12" fmla="*/ 793813 h 6858000"/>
              <a:gd name="connsiteX13" fmla="*/ 5731096 w 12192000"/>
              <a:gd name="connsiteY13" fmla="*/ 813164 h 6858000"/>
              <a:gd name="connsiteX14" fmla="*/ 5723155 w 12192000"/>
              <a:gd name="connsiteY14" fmla="*/ 838206 h 6858000"/>
              <a:gd name="connsiteX15" fmla="*/ 5677677 w 12192000"/>
              <a:gd name="connsiteY15" fmla="*/ 858922 h 6858000"/>
              <a:gd name="connsiteX16" fmla="*/ 5749146 w 12192000"/>
              <a:gd name="connsiteY16" fmla="*/ 882143 h 6858000"/>
              <a:gd name="connsiteX17" fmla="*/ 5672804 w 12192000"/>
              <a:gd name="connsiteY17" fmla="*/ 882143 h 6858000"/>
              <a:gd name="connsiteX18" fmla="*/ 5626987 w 12192000"/>
              <a:gd name="connsiteY18" fmla="*/ 862565 h 6858000"/>
              <a:gd name="connsiteX19" fmla="*/ 5611575 w 12192000"/>
              <a:gd name="connsiteY19" fmla="*/ 860624 h 6858000"/>
              <a:gd name="connsiteX20" fmla="*/ 5629275 w 12192000"/>
              <a:gd name="connsiteY20" fmla="*/ 904875 h 6858000"/>
              <a:gd name="connsiteX21" fmla="*/ 5648325 w 12192000"/>
              <a:gd name="connsiteY21" fmla="*/ 981075 h 6858000"/>
              <a:gd name="connsiteX22" fmla="*/ 5646577 w 12192000"/>
              <a:gd name="connsiteY22" fmla="*/ 1001285 h 6858000"/>
              <a:gd name="connsiteX23" fmla="*/ 5653179 w 12192000"/>
              <a:gd name="connsiteY23" fmla="*/ 1004447 h 6858000"/>
              <a:gd name="connsiteX24" fmla="*/ 5710342 w 12192000"/>
              <a:gd name="connsiteY24" fmla="*/ 1041501 h 6858000"/>
              <a:gd name="connsiteX25" fmla="*/ 5685076 w 12192000"/>
              <a:gd name="connsiteY25" fmla="*/ 1084982 h 6858000"/>
              <a:gd name="connsiteX26" fmla="*/ 5788666 w 12192000"/>
              <a:gd name="connsiteY26" fmla="*/ 1132334 h 6858000"/>
              <a:gd name="connsiteX27" fmla="*/ 5814113 w 12192000"/>
              <a:gd name="connsiteY27" fmla="*/ 1179230 h 6858000"/>
              <a:gd name="connsiteX28" fmla="*/ 5782171 w 12192000"/>
              <a:gd name="connsiteY28" fmla="*/ 1175133 h 6858000"/>
              <a:gd name="connsiteX29" fmla="*/ 5754739 w 12192000"/>
              <a:gd name="connsiteY29" fmla="*/ 1184011 h 6858000"/>
              <a:gd name="connsiteX30" fmla="*/ 5766109 w 12192000"/>
              <a:gd name="connsiteY30" fmla="*/ 1243656 h 6858000"/>
              <a:gd name="connsiteX31" fmla="*/ 5912470 w 12192000"/>
              <a:gd name="connsiteY31" fmla="*/ 1320604 h 6858000"/>
              <a:gd name="connsiteX32" fmla="*/ 5925644 w 12192000"/>
              <a:gd name="connsiteY32" fmla="*/ 1345645 h 6858000"/>
              <a:gd name="connsiteX33" fmla="*/ 5908138 w 12192000"/>
              <a:gd name="connsiteY33" fmla="*/ 1363402 h 6858000"/>
              <a:gd name="connsiteX34" fmla="*/ 5860855 w 12192000"/>
              <a:gd name="connsiteY34" fmla="*/ 1372508 h 6858000"/>
              <a:gd name="connsiteX35" fmla="*/ 5927087 w 12192000"/>
              <a:gd name="connsiteY35" fmla="*/ 1457878 h 6858000"/>
              <a:gd name="connsiteX36" fmla="*/ 5951271 w 12192000"/>
              <a:gd name="connsiteY36" fmla="*/ 1481553 h 6858000"/>
              <a:gd name="connsiteX37" fmla="*/ 5992599 w 12192000"/>
              <a:gd name="connsiteY37" fmla="*/ 1518207 h 6858000"/>
              <a:gd name="connsiteX38" fmla="*/ 5993321 w 12192000"/>
              <a:gd name="connsiteY38" fmla="*/ 1529362 h 6858000"/>
              <a:gd name="connsiteX39" fmla="*/ 5937015 w 12192000"/>
              <a:gd name="connsiteY39" fmla="*/ 1568746 h 6858000"/>
              <a:gd name="connsiteX40" fmla="*/ 5835410 w 12192000"/>
              <a:gd name="connsiteY40" fmla="*/ 1558045 h 6858000"/>
              <a:gd name="connsiteX41" fmla="*/ 5985561 w 12192000"/>
              <a:gd name="connsiteY41" fmla="*/ 1616780 h 6858000"/>
              <a:gd name="connsiteX42" fmla="*/ 5499552 w 12192000"/>
              <a:gd name="connsiteY42" fmla="*/ 1476774 h 6858000"/>
              <a:gd name="connsiteX43" fmla="*/ 5530593 w 12192000"/>
              <a:gd name="connsiteY43" fmla="*/ 1513425 h 6858000"/>
              <a:gd name="connsiteX44" fmla="*/ 5700597 w 12192000"/>
              <a:gd name="connsiteY44" fmla="*/ 1609949 h 6858000"/>
              <a:gd name="connsiteX45" fmla="*/ 5748782 w 12192000"/>
              <a:gd name="connsiteY45" fmla="*/ 1670507 h 6858000"/>
              <a:gd name="connsiteX46" fmla="*/ 5799315 w 12192000"/>
              <a:gd name="connsiteY46" fmla="*/ 1703970 h 6858000"/>
              <a:gd name="connsiteX47" fmla="*/ 5870240 w 12192000"/>
              <a:gd name="connsiteY47" fmla="*/ 1703289 h 6858000"/>
              <a:gd name="connsiteX48" fmla="*/ 5920591 w 12192000"/>
              <a:gd name="connsiteY48" fmla="*/ 1754738 h 6858000"/>
              <a:gd name="connsiteX49" fmla="*/ 5868074 w 12192000"/>
              <a:gd name="connsiteY49" fmla="*/ 1765665 h 6858000"/>
              <a:gd name="connsiteX50" fmla="*/ 5806533 w 12192000"/>
              <a:gd name="connsiteY50" fmla="*/ 1757242 h 6858000"/>
              <a:gd name="connsiteX51" fmla="*/ 5673706 w 12192000"/>
              <a:gd name="connsiteY51" fmla="*/ 1759972 h 6858000"/>
              <a:gd name="connsiteX52" fmla="*/ 5597548 w 12192000"/>
              <a:gd name="connsiteY52" fmla="*/ 1769990 h 6858000"/>
              <a:gd name="connsiteX53" fmla="*/ 5422491 w 12192000"/>
              <a:gd name="connsiteY53" fmla="*/ 1752916 h 6858000"/>
              <a:gd name="connsiteX54" fmla="*/ 5432778 w 12192000"/>
              <a:gd name="connsiteY54" fmla="*/ 1796626 h 6858000"/>
              <a:gd name="connsiteX55" fmla="*/ 5426281 w 12192000"/>
              <a:gd name="connsiteY55" fmla="*/ 1834644 h 6858000"/>
              <a:gd name="connsiteX56" fmla="*/ 5423754 w 12192000"/>
              <a:gd name="connsiteY56" fmla="*/ 1917282 h 6858000"/>
              <a:gd name="connsiteX57" fmla="*/ 5425378 w 12192000"/>
              <a:gd name="connsiteY57" fmla="*/ 1930714 h 6858000"/>
              <a:gd name="connsiteX58" fmla="*/ 5386217 w 12192000"/>
              <a:gd name="connsiteY58" fmla="*/ 1939365 h 6858000"/>
              <a:gd name="connsiteX59" fmla="*/ 5619566 w 12192000"/>
              <a:gd name="connsiteY59" fmla="*/ 2111243 h 6858000"/>
              <a:gd name="connsiteX60" fmla="*/ 5463640 w 12192000"/>
              <a:gd name="connsiteY60" fmla="*/ 2067533 h 6858000"/>
              <a:gd name="connsiteX61" fmla="*/ 5442523 w 12192000"/>
              <a:gd name="connsiteY61" fmla="*/ 2139700 h 6858000"/>
              <a:gd name="connsiteX62" fmla="*/ 5515794 w 12192000"/>
              <a:gd name="connsiteY62" fmla="*/ 2203898 h 6858000"/>
              <a:gd name="connsiteX63" fmla="*/ 5542865 w 12192000"/>
              <a:gd name="connsiteY63" fmla="*/ 2330929 h 6858000"/>
              <a:gd name="connsiteX64" fmla="*/ 5529691 w 12192000"/>
              <a:gd name="connsiteY64" fmla="*/ 2447031 h 6858000"/>
              <a:gd name="connsiteX65" fmla="*/ 5498289 w 12192000"/>
              <a:gd name="connsiteY65" fmla="*/ 2483910 h 6858000"/>
              <a:gd name="connsiteX66" fmla="*/ 5452810 w 12192000"/>
              <a:gd name="connsiteY66" fmla="*/ 2550157 h 6858000"/>
              <a:gd name="connsiteX67" fmla="*/ 5424658 w 12192000"/>
              <a:gd name="connsiteY67" fmla="*/ 2591135 h 6858000"/>
              <a:gd name="connsiteX68" fmla="*/ 5326841 w 12192000"/>
              <a:gd name="connsiteY68" fmla="*/ 2575200 h 6858000"/>
              <a:gd name="connsiteX69" fmla="*/ 5457322 w 12192000"/>
              <a:gd name="connsiteY69" fmla="*/ 2679238 h 6858000"/>
              <a:gd name="connsiteX70" fmla="*/ 5351566 w 12192000"/>
              <a:gd name="connsiteY70" fmla="*/ 2666261 h 6858000"/>
              <a:gd name="connsiteX71" fmla="*/ 5317096 w 12192000"/>
              <a:gd name="connsiteY71" fmla="*/ 2673546 h 6858000"/>
              <a:gd name="connsiteX72" fmla="*/ 5336768 w 12192000"/>
              <a:gd name="connsiteY72" fmla="*/ 2707238 h 6858000"/>
              <a:gd name="connsiteX73" fmla="*/ 5414369 w 12192000"/>
              <a:gd name="connsiteY73" fmla="*/ 2764378 h 6858000"/>
              <a:gd name="connsiteX74" fmla="*/ 5574268 w 12192000"/>
              <a:gd name="connsiteY74" fmla="*/ 2919184 h 6858000"/>
              <a:gd name="connsiteX75" fmla="*/ 5419422 w 12192000"/>
              <a:gd name="connsiteY75" fmla="*/ 2848157 h 6858000"/>
              <a:gd name="connsiteX76" fmla="*/ 5582568 w 12192000"/>
              <a:gd name="connsiteY76" fmla="*/ 3007285 h 6858000"/>
              <a:gd name="connsiteX77" fmla="*/ 5618844 w 12192000"/>
              <a:gd name="connsiteY77" fmla="*/ 3060100 h 6858000"/>
              <a:gd name="connsiteX78" fmla="*/ 5692115 w 12192000"/>
              <a:gd name="connsiteY78" fmla="*/ 3191228 h 6858000"/>
              <a:gd name="connsiteX79" fmla="*/ 5688506 w 12192000"/>
              <a:gd name="connsiteY79" fmla="*/ 3206025 h 6858000"/>
              <a:gd name="connsiteX80" fmla="*/ 5603864 w 12192000"/>
              <a:gd name="connsiteY80" fmla="*/ 3184854 h 6858000"/>
              <a:gd name="connsiteX81" fmla="*/ 5713591 w 12192000"/>
              <a:gd name="connsiteY81" fmla="*/ 3295040 h 6858000"/>
              <a:gd name="connsiteX82" fmla="*/ 5826927 w 12192000"/>
              <a:gd name="connsiteY82" fmla="*/ 3379724 h 6858000"/>
              <a:gd name="connsiteX83" fmla="*/ 5746436 w 12192000"/>
              <a:gd name="connsiteY83" fmla="*/ 3366750 h 6858000"/>
              <a:gd name="connsiteX84" fmla="*/ 5635807 w 12192000"/>
              <a:gd name="connsiteY84" fmla="*/ 3318259 h 6858000"/>
              <a:gd name="connsiteX85" fmla="*/ 5597367 w 12192000"/>
              <a:gd name="connsiteY85" fmla="*/ 3336472 h 6858000"/>
              <a:gd name="connsiteX86" fmla="*/ 5702221 w 12192000"/>
              <a:gd name="connsiteY86" fmla="*/ 3416605 h 6858000"/>
              <a:gd name="connsiteX87" fmla="*/ 5762317 w 12192000"/>
              <a:gd name="connsiteY87" fmla="*/ 3453714 h 6858000"/>
              <a:gd name="connsiteX88" fmla="*/ 5786319 w 12192000"/>
              <a:gd name="connsiteY88" fmla="*/ 3482169 h 6858000"/>
              <a:gd name="connsiteX89" fmla="*/ 5854901 w 12192000"/>
              <a:gd name="connsiteY89" fmla="*/ 3583703 h 6858000"/>
              <a:gd name="connsiteX90" fmla="*/ 6056305 w 12192000"/>
              <a:gd name="connsiteY90" fmla="*/ 3694570 h 6858000"/>
              <a:gd name="connsiteX91" fmla="*/ 6244716 w 12192000"/>
              <a:gd name="connsiteY91" fmla="*/ 3832301 h 6858000"/>
              <a:gd name="connsiteX92" fmla="*/ 6391802 w 12192000"/>
              <a:gd name="connsiteY92" fmla="*/ 3918125 h 6858000"/>
              <a:gd name="connsiteX93" fmla="*/ 6763572 w 12192000"/>
              <a:gd name="connsiteY93" fmla="*/ 4028537 h 6858000"/>
              <a:gd name="connsiteX94" fmla="*/ 8173592 w 12192000"/>
              <a:gd name="connsiteY94" fmla="*/ 3279560 h 6858000"/>
              <a:gd name="connsiteX95" fmla="*/ 8191458 w 12192000"/>
              <a:gd name="connsiteY95" fmla="*/ 3257248 h 6858000"/>
              <a:gd name="connsiteX96" fmla="*/ 8259856 w 12192000"/>
              <a:gd name="connsiteY96" fmla="*/ 3173245 h 6858000"/>
              <a:gd name="connsiteX97" fmla="*/ 8317969 w 12192000"/>
              <a:gd name="connsiteY97" fmla="*/ 3097663 h 6858000"/>
              <a:gd name="connsiteX98" fmla="*/ 8287650 w 12192000"/>
              <a:gd name="connsiteY98" fmla="*/ 3072166 h 6858000"/>
              <a:gd name="connsiteX99" fmla="*/ 8328617 w 12192000"/>
              <a:gd name="connsiteY99" fmla="*/ 3000000 h 6858000"/>
              <a:gd name="connsiteX100" fmla="*/ 8458917 w 12192000"/>
              <a:gd name="connsiteY100" fmla="*/ 2777583 h 6858000"/>
              <a:gd name="connsiteX101" fmla="*/ 8516125 w 12192000"/>
              <a:gd name="connsiteY101" fmla="*/ 2728639 h 6858000"/>
              <a:gd name="connsiteX102" fmla="*/ 8585788 w 12192000"/>
              <a:gd name="connsiteY102" fmla="*/ 2605478 h 6858000"/>
              <a:gd name="connsiteX103" fmla="*/ 8595714 w 12192000"/>
              <a:gd name="connsiteY103" fmla="*/ 2577023 h 6858000"/>
              <a:gd name="connsiteX104" fmla="*/ 8581457 w 12192000"/>
              <a:gd name="connsiteY104" fmla="*/ 2540823 h 6858000"/>
              <a:gd name="connsiteX105" fmla="*/ 8570809 w 12192000"/>
              <a:gd name="connsiteY105" fmla="*/ 2504399 h 6858000"/>
              <a:gd name="connsiteX106" fmla="*/ 8584705 w 12192000"/>
              <a:gd name="connsiteY106" fmla="*/ 2493699 h 6858000"/>
              <a:gd name="connsiteX107" fmla="*/ 8674038 w 12192000"/>
              <a:gd name="connsiteY107" fmla="*/ 2475260 h 6858000"/>
              <a:gd name="connsiteX108" fmla="*/ 8622243 w 12192000"/>
              <a:gd name="connsiteY108" fmla="*/ 2406054 h 6858000"/>
              <a:gd name="connsiteX109" fmla="*/ 8530925 w 12192000"/>
              <a:gd name="connsiteY109" fmla="*/ 2302926 h 6858000"/>
              <a:gd name="connsiteX110" fmla="*/ 8489417 w 12192000"/>
              <a:gd name="connsiteY110" fmla="*/ 2229622 h 6858000"/>
              <a:gd name="connsiteX111" fmla="*/ 8484543 w 12192000"/>
              <a:gd name="connsiteY111" fmla="*/ 2164058 h 6858000"/>
              <a:gd name="connsiteX112" fmla="*/ 8402970 w 12192000"/>
              <a:gd name="connsiteY112" fmla="*/ 2125358 h 6858000"/>
              <a:gd name="connsiteX113" fmla="*/ 8479670 w 12192000"/>
              <a:gd name="connsiteY113" fmla="*/ 1986716 h 6858000"/>
              <a:gd name="connsiteX114" fmla="*/ 8487432 w 12192000"/>
              <a:gd name="connsiteY114" fmla="*/ 1958032 h 6858000"/>
              <a:gd name="connsiteX115" fmla="*/ 8441412 w 12192000"/>
              <a:gd name="connsiteY115" fmla="*/ 1855361 h 6858000"/>
              <a:gd name="connsiteX116" fmla="*/ 8433831 w 12192000"/>
              <a:gd name="connsiteY116" fmla="*/ 1838969 h 6858000"/>
              <a:gd name="connsiteX117" fmla="*/ 8416868 w 12192000"/>
              <a:gd name="connsiteY117" fmla="*/ 1806187 h 6858000"/>
              <a:gd name="connsiteX118" fmla="*/ 8368140 w 12192000"/>
              <a:gd name="connsiteY118" fmla="*/ 1798219 h 6858000"/>
              <a:gd name="connsiteX119" fmla="*/ 8393405 w 12192000"/>
              <a:gd name="connsiteY119" fmla="*/ 1774999 h 6858000"/>
              <a:gd name="connsiteX120" fmla="*/ 8442495 w 12192000"/>
              <a:gd name="connsiteY120" fmla="*/ 1696458 h 6858000"/>
              <a:gd name="connsiteX121" fmla="*/ 8409828 w 12192000"/>
              <a:gd name="connsiteY121" fmla="*/ 1621332 h 6858000"/>
              <a:gd name="connsiteX122" fmla="*/ 8407664 w 12192000"/>
              <a:gd name="connsiteY122" fmla="*/ 1579899 h 6858000"/>
              <a:gd name="connsiteX123" fmla="*/ 8462707 w 12192000"/>
              <a:gd name="connsiteY123" fmla="*/ 1526857 h 6858000"/>
              <a:gd name="connsiteX124" fmla="*/ 8504215 w 12192000"/>
              <a:gd name="connsiteY124" fmla="*/ 1505913 h 6858000"/>
              <a:gd name="connsiteX125" fmla="*/ 8523345 w 12192000"/>
              <a:gd name="connsiteY125" fmla="*/ 1475863 h 6858000"/>
              <a:gd name="connsiteX126" fmla="*/ 8500786 w 12192000"/>
              <a:gd name="connsiteY126" fmla="*/ 1450820 h 6858000"/>
              <a:gd name="connsiteX127" fmla="*/ 8400624 w 12192000"/>
              <a:gd name="connsiteY127" fmla="*/ 1391176 h 6858000"/>
              <a:gd name="connsiteX128" fmla="*/ 8454585 w 12192000"/>
              <a:gd name="connsiteY128" fmla="*/ 1341319 h 6858000"/>
              <a:gd name="connsiteX129" fmla="*/ 8172509 w 12192000"/>
              <a:gd name="connsiteY129" fmla="*/ 1106153 h 6858000"/>
              <a:gd name="connsiteX130" fmla="*/ 8138399 w 12192000"/>
              <a:gd name="connsiteY130" fmla="*/ 1070184 h 6858000"/>
              <a:gd name="connsiteX131" fmla="*/ 7957388 w 12192000"/>
              <a:gd name="connsiteY131" fmla="*/ 982992 h 6858000"/>
              <a:gd name="connsiteX132" fmla="*/ 7771142 w 12192000"/>
              <a:gd name="connsiteY132" fmla="*/ 921300 h 6858000"/>
              <a:gd name="connsiteX133" fmla="*/ 7900539 w 12192000"/>
              <a:gd name="connsiteY133" fmla="*/ 791082 h 6858000"/>
              <a:gd name="connsiteX134" fmla="*/ 7702923 w 12192000"/>
              <a:gd name="connsiteY134" fmla="*/ 760803 h 6858000"/>
              <a:gd name="connsiteX135" fmla="*/ 7683614 w 12192000"/>
              <a:gd name="connsiteY135" fmla="*/ 761714 h 6858000"/>
              <a:gd name="connsiteX136" fmla="*/ 7295600 w 12192000"/>
              <a:gd name="connsiteY136" fmla="*/ 741680 h 6858000"/>
              <a:gd name="connsiteX137" fmla="*/ 6739388 w 12192000"/>
              <a:gd name="connsiteY137" fmla="*/ 675206 h 6858000"/>
              <a:gd name="connsiteX138" fmla="*/ 6279006 w 12192000"/>
              <a:gd name="connsiteY138" fmla="*/ 635367 h 6858000"/>
              <a:gd name="connsiteX139" fmla="*/ 5788847 w 12192000"/>
              <a:gd name="connsiteY139" fmla="*/ 557964 h 6858000"/>
              <a:gd name="connsiteX140" fmla="*/ 5765387 w 12192000"/>
              <a:gd name="connsiteY140" fmla="*/ 552984 h 6858000"/>
              <a:gd name="connsiteX141" fmla="*/ 0 w 12192000"/>
              <a:gd name="connsiteY141" fmla="*/ 0 h 6858000"/>
              <a:gd name="connsiteX142" fmla="*/ 768106 w 12192000"/>
              <a:gd name="connsiteY142" fmla="*/ 0 h 6858000"/>
              <a:gd name="connsiteX143" fmla="*/ 767098 w 12192000"/>
              <a:gd name="connsiteY143" fmla="*/ 10118 h 6858000"/>
              <a:gd name="connsiteX144" fmla="*/ 756850 w 12192000"/>
              <a:gd name="connsiteY144" fmla="*/ 43654 h 6858000"/>
              <a:gd name="connsiteX145" fmla="*/ 768357 w 12192000"/>
              <a:gd name="connsiteY145" fmla="*/ 76852 h 6858000"/>
              <a:gd name="connsiteX146" fmla="*/ 882077 w 12192000"/>
              <a:gd name="connsiteY146" fmla="*/ 237315 h 6858000"/>
              <a:gd name="connsiteX147" fmla="*/ 761133 w 12192000"/>
              <a:gd name="connsiteY147" fmla="*/ 282106 h 6858000"/>
              <a:gd name="connsiteX148" fmla="*/ 753907 w 12192000"/>
              <a:gd name="connsiteY148" fmla="*/ 357988 h 6858000"/>
              <a:gd name="connsiteX149" fmla="*/ 692364 w 12192000"/>
              <a:gd name="connsiteY149" fmla="*/ 442830 h 6858000"/>
              <a:gd name="connsiteX150" fmla="*/ 556972 w 12192000"/>
              <a:gd name="connsiteY150" fmla="*/ 562188 h 6858000"/>
              <a:gd name="connsiteX151" fmla="*/ 480177 w 12192000"/>
              <a:gd name="connsiteY151" fmla="*/ 642286 h 6858000"/>
              <a:gd name="connsiteX152" fmla="*/ 612627 w 12192000"/>
              <a:gd name="connsiteY152" fmla="*/ 663627 h 6858000"/>
              <a:gd name="connsiteX153" fmla="*/ 633230 w 12192000"/>
              <a:gd name="connsiteY153" fmla="*/ 676011 h 6858000"/>
              <a:gd name="connsiteX154" fmla="*/ 617443 w 12192000"/>
              <a:gd name="connsiteY154" fmla="*/ 718168 h 6858000"/>
              <a:gd name="connsiteX155" fmla="*/ 596304 w 12192000"/>
              <a:gd name="connsiteY155" fmla="*/ 760064 h 6858000"/>
              <a:gd name="connsiteX156" fmla="*/ 611021 w 12192000"/>
              <a:gd name="connsiteY156" fmla="*/ 792998 h 6858000"/>
              <a:gd name="connsiteX157" fmla="*/ 714308 w 12192000"/>
              <a:gd name="connsiteY157" fmla="*/ 935543 h 6858000"/>
              <a:gd name="connsiteX158" fmla="*/ 799128 w 12192000"/>
              <a:gd name="connsiteY158" fmla="*/ 992190 h 6858000"/>
              <a:gd name="connsiteX159" fmla="*/ 992317 w 12192000"/>
              <a:gd name="connsiteY159" fmla="*/ 1249612 h 6858000"/>
              <a:gd name="connsiteX160" fmla="*/ 1053058 w 12192000"/>
              <a:gd name="connsiteY160" fmla="*/ 1333136 h 6858000"/>
              <a:gd name="connsiteX161" fmla="*/ 1008104 w 12192000"/>
              <a:gd name="connsiteY161" fmla="*/ 1362645 h 6858000"/>
              <a:gd name="connsiteX162" fmla="*/ 1094265 w 12192000"/>
              <a:gd name="connsiteY162" fmla="*/ 1450123 h 6858000"/>
              <a:gd name="connsiteX163" fmla="*/ 1195677 w 12192000"/>
              <a:gd name="connsiteY163" fmla="*/ 1547347 h 6858000"/>
              <a:gd name="connsiteX164" fmla="*/ 1222166 w 12192000"/>
              <a:gd name="connsiteY164" fmla="*/ 1573170 h 6858000"/>
              <a:gd name="connsiteX165" fmla="*/ 3312738 w 12192000"/>
              <a:gd name="connsiteY165" fmla="*/ 2440024 h 6858000"/>
              <a:gd name="connsiteX166" fmla="*/ 3863944 w 12192000"/>
              <a:gd name="connsiteY166" fmla="*/ 2312235 h 6858000"/>
              <a:gd name="connsiteX167" fmla="*/ 4082022 w 12192000"/>
              <a:gd name="connsiteY167" fmla="*/ 2212904 h 6858000"/>
              <a:gd name="connsiteX168" fmla="*/ 4361371 w 12192000"/>
              <a:gd name="connsiteY168" fmla="*/ 2053496 h 6858000"/>
              <a:gd name="connsiteX169" fmla="*/ 4659987 w 12192000"/>
              <a:gd name="connsiteY169" fmla="*/ 1925180 h 6858000"/>
              <a:gd name="connsiteX170" fmla="*/ 4761667 w 12192000"/>
              <a:gd name="connsiteY170" fmla="*/ 1807667 h 6858000"/>
              <a:gd name="connsiteX171" fmla="*/ 4797253 w 12192000"/>
              <a:gd name="connsiteY171" fmla="*/ 1774733 h 6858000"/>
              <a:gd name="connsiteX172" fmla="*/ 4886356 w 12192000"/>
              <a:gd name="connsiteY172" fmla="*/ 1731784 h 6858000"/>
              <a:gd name="connsiteX173" fmla="*/ 5041818 w 12192000"/>
              <a:gd name="connsiteY173" fmla="*/ 1639039 h 6858000"/>
              <a:gd name="connsiteX174" fmla="*/ 4984824 w 12192000"/>
              <a:gd name="connsiteY174" fmla="*/ 1617960 h 6858000"/>
              <a:gd name="connsiteX175" fmla="*/ 4820800 w 12192000"/>
              <a:gd name="connsiteY175" fmla="*/ 1674082 h 6858000"/>
              <a:gd name="connsiteX176" fmla="*/ 4701459 w 12192000"/>
              <a:gd name="connsiteY176" fmla="*/ 1689099 h 6858000"/>
              <a:gd name="connsiteX177" fmla="*/ 4869498 w 12192000"/>
              <a:gd name="connsiteY177" fmla="*/ 1591086 h 6858000"/>
              <a:gd name="connsiteX178" fmla="*/ 5032185 w 12192000"/>
              <a:gd name="connsiteY178" fmla="*/ 1463559 h 6858000"/>
              <a:gd name="connsiteX179" fmla="*/ 4906692 w 12192000"/>
              <a:gd name="connsiteY179" fmla="*/ 1488062 h 6858000"/>
              <a:gd name="connsiteX180" fmla="*/ 4901340 w 12192000"/>
              <a:gd name="connsiteY180" fmla="*/ 1470936 h 6858000"/>
              <a:gd name="connsiteX181" fmla="*/ 5009976 w 12192000"/>
              <a:gd name="connsiteY181" fmla="*/ 1319171 h 6858000"/>
              <a:gd name="connsiteX182" fmla="*/ 5063760 w 12192000"/>
              <a:gd name="connsiteY182" fmla="*/ 1258044 h 6858000"/>
              <a:gd name="connsiteX183" fmla="*/ 5305648 w 12192000"/>
              <a:gd name="connsiteY183" fmla="*/ 1073871 h 6858000"/>
              <a:gd name="connsiteX184" fmla="*/ 5076067 w 12192000"/>
              <a:gd name="connsiteY184" fmla="*/ 1156077 h 6858000"/>
              <a:gd name="connsiteX185" fmla="*/ 5313141 w 12192000"/>
              <a:gd name="connsiteY185" fmla="*/ 976907 h 6858000"/>
              <a:gd name="connsiteX186" fmla="*/ 5428196 w 12192000"/>
              <a:gd name="connsiteY186" fmla="*/ 910774 h 6858000"/>
              <a:gd name="connsiteX187" fmla="*/ 5457363 w 12192000"/>
              <a:gd name="connsiteY187" fmla="*/ 871779 h 6858000"/>
              <a:gd name="connsiteX188" fmla="*/ 5406256 w 12192000"/>
              <a:gd name="connsiteY188" fmla="*/ 863347 h 6858000"/>
              <a:gd name="connsiteX189" fmla="*/ 5249456 w 12192000"/>
              <a:gd name="connsiteY189" fmla="*/ 878367 h 6858000"/>
              <a:gd name="connsiteX190" fmla="*/ 5442914 w 12192000"/>
              <a:gd name="connsiteY190" fmla="*/ 757955 h 6858000"/>
              <a:gd name="connsiteX191" fmla="*/ 5297887 w 12192000"/>
              <a:gd name="connsiteY191" fmla="*/ 776398 h 6858000"/>
              <a:gd name="connsiteX192" fmla="*/ 5256146 w 12192000"/>
              <a:gd name="connsiteY192" fmla="*/ 728971 h 6858000"/>
              <a:gd name="connsiteX193" fmla="*/ 5188716 w 12192000"/>
              <a:gd name="connsiteY193" fmla="*/ 652298 h 6858000"/>
              <a:gd name="connsiteX194" fmla="*/ 5142160 w 12192000"/>
              <a:gd name="connsiteY194" fmla="*/ 609614 h 6858000"/>
              <a:gd name="connsiteX195" fmla="*/ 5122626 w 12192000"/>
              <a:gd name="connsiteY195" fmla="*/ 475239 h 6858000"/>
              <a:gd name="connsiteX196" fmla="*/ 5162763 w 12192000"/>
              <a:gd name="connsiteY196" fmla="*/ 328215 h 6858000"/>
              <a:gd name="connsiteX197" fmla="*/ 5271399 w 12192000"/>
              <a:gd name="connsiteY197" fmla="*/ 253914 h 6858000"/>
              <a:gd name="connsiteX198" fmla="*/ 5240091 w 12192000"/>
              <a:gd name="connsiteY198" fmla="*/ 170389 h 6858000"/>
              <a:gd name="connsiteX199" fmla="*/ 5008904 w 12192000"/>
              <a:gd name="connsiteY199" fmla="*/ 220979 h 6858000"/>
              <a:gd name="connsiteX200" fmla="*/ 5354881 w 12192000"/>
              <a:gd name="connsiteY200" fmla="*/ 22050 h 6858000"/>
              <a:gd name="connsiteX201" fmla="*/ 5296818 w 12192000"/>
              <a:gd name="connsiteY201" fmla="*/ 12038 h 6858000"/>
              <a:gd name="connsiteX202" fmla="*/ 5297018 w 12192000"/>
              <a:gd name="connsiteY202" fmla="*/ 3177 h 6858000"/>
              <a:gd name="connsiteX203" fmla="*/ 5298067 w 12192000"/>
              <a:gd name="connsiteY203" fmla="*/ 0 h 6858000"/>
              <a:gd name="connsiteX204" fmla="*/ 8958468 w 12192000"/>
              <a:gd name="connsiteY204" fmla="*/ 0 h 6858000"/>
              <a:gd name="connsiteX205" fmla="*/ 8936439 w 12192000"/>
              <a:gd name="connsiteY205" fmla="*/ 18562 h 6858000"/>
              <a:gd name="connsiteX206" fmla="*/ 8934304 w 12192000"/>
              <a:gd name="connsiteY206" fmla="*/ 46608 h 6858000"/>
              <a:gd name="connsiteX207" fmla="*/ 9027240 w 12192000"/>
              <a:gd name="connsiteY207" fmla="*/ 113638 h 6858000"/>
              <a:gd name="connsiteX208" fmla="*/ 8854734 w 12192000"/>
              <a:gd name="connsiteY208" fmla="*/ 193826 h 6858000"/>
              <a:gd name="connsiteX209" fmla="*/ 8815880 w 12192000"/>
              <a:gd name="connsiteY209" fmla="*/ 227493 h 6858000"/>
              <a:gd name="connsiteX210" fmla="*/ 8848828 w 12192000"/>
              <a:gd name="connsiteY210" fmla="*/ 267894 h 6858000"/>
              <a:gd name="connsiteX211" fmla="*/ 8920315 w 12192000"/>
              <a:gd name="connsiteY211" fmla="*/ 296052 h 6858000"/>
              <a:gd name="connsiteX212" fmla="*/ 9015115 w 12192000"/>
              <a:gd name="connsiteY212" fmla="*/ 367363 h 6858000"/>
              <a:gd name="connsiteX213" fmla="*/ 9011388 w 12192000"/>
              <a:gd name="connsiteY213" fmla="*/ 423067 h 6858000"/>
              <a:gd name="connsiteX214" fmla="*/ 8955127 w 12192000"/>
              <a:gd name="connsiteY214" fmla="*/ 524068 h 6858000"/>
              <a:gd name="connsiteX215" fmla="*/ 9039672 w 12192000"/>
              <a:gd name="connsiteY215" fmla="*/ 629661 h 6858000"/>
              <a:gd name="connsiteX216" fmla="*/ 9083187 w 12192000"/>
              <a:gd name="connsiteY216" fmla="*/ 660880 h 6858000"/>
              <a:gd name="connsiteX217" fmla="*/ 8999263 w 12192000"/>
              <a:gd name="connsiteY217" fmla="*/ 671592 h 6858000"/>
              <a:gd name="connsiteX218" fmla="*/ 8970048 w 12192000"/>
              <a:gd name="connsiteY218" fmla="*/ 715664 h 6858000"/>
              <a:gd name="connsiteX219" fmla="*/ 8956992 w 12192000"/>
              <a:gd name="connsiteY219" fmla="*/ 737702 h 6858000"/>
              <a:gd name="connsiteX220" fmla="*/ 8877733 w 12192000"/>
              <a:gd name="connsiteY220" fmla="*/ 875737 h 6858000"/>
              <a:gd name="connsiteX221" fmla="*/ 8891100 w 12192000"/>
              <a:gd name="connsiteY221" fmla="*/ 914300 h 6858000"/>
              <a:gd name="connsiteX222" fmla="*/ 9023199 w 12192000"/>
              <a:gd name="connsiteY222" fmla="*/ 1100695 h 6858000"/>
              <a:gd name="connsiteX223" fmla="*/ 8882708 w 12192000"/>
              <a:gd name="connsiteY223" fmla="*/ 1152725 h 6858000"/>
              <a:gd name="connsiteX224" fmla="*/ 8874315 w 12192000"/>
              <a:gd name="connsiteY224" fmla="*/ 1240870 h 6858000"/>
              <a:gd name="connsiteX225" fmla="*/ 8802826 w 12192000"/>
              <a:gd name="connsiteY225" fmla="*/ 1339424 h 6858000"/>
              <a:gd name="connsiteX226" fmla="*/ 8645552 w 12192000"/>
              <a:gd name="connsiteY226" fmla="*/ 1478072 h 6858000"/>
              <a:gd name="connsiteX227" fmla="*/ 8556347 w 12192000"/>
              <a:gd name="connsiteY227" fmla="*/ 1571114 h 6858000"/>
              <a:gd name="connsiteX228" fmla="*/ 8710202 w 12192000"/>
              <a:gd name="connsiteY228" fmla="*/ 1595904 h 6858000"/>
              <a:gd name="connsiteX229" fmla="*/ 8734135 w 12192000"/>
              <a:gd name="connsiteY229" fmla="*/ 1610290 h 6858000"/>
              <a:gd name="connsiteX230" fmla="*/ 8715797 w 12192000"/>
              <a:gd name="connsiteY230" fmla="*/ 1659260 h 6858000"/>
              <a:gd name="connsiteX231" fmla="*/ 8691242 w 12192000"/>
              <a:gd name="connsiteY231" fmla="*/ 1707927 h 6858000"/>
              <a:gd name="connsiteX232" fmla="*/ 8708337 w 12192000"/>
              <a:gd name="connsiteY232" fmla="*/ 1746183 h 6858000"/>
              <a:gd name="connsiteX233" fmla="*/ 8828316 w 12192000"/>
              <a:gd name="connsiteY233" fmla="*/ 1911765 h 6858000"/>
              <a:gd name="connsiteX234" fmla="*/ 8926844 w 12192000"/>
              <a:gd name="connsiteY234" fmla="*/ 1977567 h 6858000"/>
              <a:gd name="connsiteX235" fmla="*/ 9151255 w 12192000"/>
              <a:gd name="connsiteY235" fmla="*/ 2276592 h 6858000"/>
              <a:gd name="connsiteX236" fmla="*/ 9221812 w 12192000"/>
              <a:gd name="connsiteY236" fmla="*/ 2373614 h 6858000"/>
              <a:gd name="connsiteX237" fmla="*/ 9169593 w 12192000"/>
              <a:gd name="connsiteY237" fmla="*/ 2407892 h 6858000"/>
              <a:gd name="connsiteX238" fmla="*/ 9269679 w 12192000"/>
              <a:gd name="connsiteY238" fmla="*/ 2509507 h 6858000"/>
              <a:gd name="connsiteX239" fmla="*/ 9387480 w 12192000"/>
              <a:gd name="connsiteY239" fmla="*/ 2622444 h 6858000"/>
              <a:gd name="connsiteX240" fmla="*/ 9418250 w 12192000"/>
              <a:gd name="connsiteY240" fmla="*/ 2652440 h 6858000"/>
              <a:gd name="connsiteX241" fmla="*/ 11846684 w 12192000"/>
              <a:gd name="connsiteY241" fmla="*/ 3659389 h 6858000"/>
              <a:gd name="connsiteX242" fmla="*/ 12172890 w 12192000"/>
              <a:gd name="connsiteY242" fmla="*/ 3610878 h 6858000"/>
              <a:gd name="connsiteX243" fmla="*/ 12192000 w 12192000"/>
              <a:gd name="connsiteY243" fmla="*/ 3605403 h 6858000"/>
              <a:gd name="connsiteX244" fmla="*/ 12192000 w 12192000"/>
              <a:gd name="connsiteY244" fmla="*/ 6858000 h 6858000"/>
              <a:gd name="connsiteX245" fmla="*/ 2667892 w 12192000"/>
              <a:gd name="connsiteY245" fmla="*/ 6858000 h 6858000"/>
              <a:gd name="connsiteX246" fmla="*/ 2654380 w 12192000"/>
              <a:gd name="connsiteY246" fmla="*/ 6849405 h 6858000"/>
              <a:gd name="connsiteX247" fmla="*/ 2517472 w 12192000"/>
              <a:gd name="connsiteY247" fmla="*/ 6768410 h 6858000"/>
              <a:gd name="connsiteX248" fmla="*/ 2863768 w 12192000"/>
              <a:gd name="connsiteY248" fmla="*/ 6678867 h 6858000"/>
              <a:gd name="connsiteX249" fmla="*/ 3200332 w 12192000"/>
              <a:gd name="connsiteY249" fmla="*/ 6552312 h 6858000"/>
              <a:gd name="connsiteX250" fmla="*/ 3263755 w 12192000"/>
              <a:gd name="connsiteY250" fmla="*/ 6500106 h 6858000"/>
              <a:gd name="connsiteX251" fmla="*/ 3788234 w 12192000"/>
              <a:gd name="connsiteY251" fmla="*/ 6158777 h 6858000"/>
              <a:gd name="connsiteX252" fmla="*/ 3687901 w 12192000"/>
              <a:gd name="connsiteY252" fmla="*/ 6086412 h 6858000"/>
              <a:gd name="connsiteX253" fmla="*/ 3874137 w 12192000"/>
              <a:gd name="connsiteY253" fmla="*/ 5999841 h 6858000"/>
              <a:gd name="connsiteX254" fmla="*/ 3916083 w 12192000"/>
              <a:gd name="connsiteY254" fmla="*/ 5963494 h 6858000"/>
              <a:gd name="connsiteX255" fmla="*/ 3880513 w 12192000"/>
              <a:gd name="connsiteY255" fmla="*/ 5919878 h 6858000"/>
              <a:gd name="connsiteX256" fmla="*/ 3803335 w 12192000"/>
              <a:gd name="connsiteY256" fmla="*/ 5889479 h 6858000"/>
              <a:gd name="connsiteX257" fmla="*/ 3700990 w 12192000"/>
              <a:gd name="connsiteY257" fmla="*/ 5812491 h 6858000"/>
              <a:gd name="connsiteX258" fmla="*/ 3705014 w 12192000"/>
              <a:gd name="connsiteY258" fmla="*/ 5752353 h 6858000"/>
              <a:gd name="connsiteX259" fmla="*/ 3765753 w 12192000"/>
              <a:gd name="connsiteY259" fmla="*/ 5643313 h 6858000"/>
              <a:gd name="connsiteX260" fmla="*/ 3674479 w 12192000"/>
              <a:gd name="connsiteY260" fmla="*/ 5529315 h 6858000"/>
              <a:gd name="connsiteX261" fmla="*/ 3627501 w 12192000"/>
              <a:gd name="connsiteY261" fmla="*/ 5495612 h 6858000"/>
              <a:gd name="connsiteX262" fmla="*/ 3718104 w 12192000"/>
              <a:gd name="connsiteY262" fmla="*/ 5484048 h 6858000"/>
              <a:gd name="connsiteX263" fmla="*/ 3749644 w 12192000"/>
              <a:gd name="connsiteY263" fmla="*/ 5436467 h 6858000"/>
              <a:gd name="connsiteX264" fmla="*/ 3763740 w 12192000"/>
              <a:gd name="connsiteY264" fmla="*/ 5412675 h 6858000"/>
              <a:gd name="connsiteX265" fmla="*/ 3849307 w 12192000"/>
              <a:gd name="connsiteY265" fmla="*/ 5263654 h 6858000"/>
              <a:gd name="connsiteX266" fmla="*/ 3834876 w 12192000"/>
              <a:gd name="connsiteY266" fmla="*/ 5222021 h 6858000"/>
              <a:gd name="connsiteX267" fmla="*/ 3692263 w 12192000"/>
              <a:gd name="connsiteY267" fmla="*/ 5020790 h 6858000"/>
              <a:gd name="connsiteX268" fmla="*/ 3843936 w 12192000"/>
              <a:gd name="connsiteY268" fmla="*/ 4964619 h 6858000"/>
              <a:gd name="connsiteX269" fmla="*/ 3852997 w 12192000"/>
              <a:gd name="connsiteY269" fmla="*/ 4869458 h 6858000"/>
              <a:gd name="connsiteX270" fmla="*/ 3930177 w 12192000"/>
              <a:gd name="connsiteY270" fmla="*/ 4763060 h 6858000"/>
              <a:gd name="connsiteX271" fmla="*/ 4099968 w 12192000"/>
              <a:gd name="connsiteY271" fmla="*/ 4613376 h 6858000"/>
              <a:gd name="connsiteX272" fmla="*/ 4196274 w 12192000"/>
              <a:gd name="connsiteY272" fmla="*/ 4512928 h 6858000"/>
              <a:gd name="connsiteX273" fmla="*/ 4030173 w 12192000"/>
              <a:gd name="connsiteY273" fmla="*/ 4486165 h 6858000"/>
              <a:gd name="connsiteX274" fmla="*/ 4004335 w 12192000"/>
              <a:gd name="connsiteY274" fmla="*/ 4470634 h 6858000"/>
              <a:gd name="connsiteX275" fmla="*/ 4024133 w 12192000"/>
              <a:gd name="connsiteY275" fmla="*/ 4417767 h 6858000"/>
              <a:gd name="connsiteX276" fmla="*/ 4050642 w 12192000"/>
              <a:gd name="connsiteY276" fmla="*/ 4365226 h 6858000"/>
              <a:gd name="connsiteX277" fmla="*/ 4032186 w 12192000"/>
              <a:gd name="connsiteY277" fmla="*/ 4323924 h 6858000"/>
              <a:gd name="connsiteX278" fmla="*/ 3902658 w 12192000"/>
              <a:gd name="connsiteY278" fmla="*/ 4145163 h 6858000"/>
              <a:gd name="connsiteX279" fmla="*/ 3796288 w 12192000"/>
              <a:gd name="connsiteY279" fmla="*/ 4074123 h 6858000"/>
              <a:gd name="connsiteX280" fmla="*/ 3554015 w 12192000"/>
              <a:gd name="connsiteY280" fmla="*/ 3751298 h 6858000"/>
              <a:gd name="connsiteX281" fmla="*/ 3477841 w 12192000"/>
              <a:gd name="connsiteY281" fmla="*/ 3646554 h 6858000"/>
              <a:gd name="connsiteX282" fmla="*/ 3534217 w 12192000"/>
              <a:gd name="connsiteY282" fmla="*/ 3609547 h 6858000"/>
              <a:gd name="connsiteX283" fmla="*/ 3426164 w 12192000"/>
              <a:gd name="connsiteY283" fmla="*/ 3499844 h 6858000"/>
              <a:gd name="connsiteX284" fmla="*/ 3298987 w 12192000"/>
              <a:gd name="connsiteY284" fmla="*/ 3377918 h 6858000"/>
              <a:gd name="connsiteX285" fmla="*/ 3265768 w 12192000"/>
              <a:gd name="connsiteY285" fmla="*/ 3345534 h 6858000"/>
              <a:gd name="connsiteX286" fmla="*/ 698533 w 12192000"/>
              <a:gd name="connsiteY286" fmla="*/ 2257448 h 6858000"/>
              <a:gd name="connsiteX287" fmla="*/ 644044 w 12192000"/>
              <a:gd name="connsiteY287" fmla="*/ 2258439 h 6858000"/>
              <a:gd name="connsiteX288" fmla="*/ 121106 w 12192000"/>
              <a:gd name="connsiteY288" fmla="*/ 2359734 h 6858000"/>
              <a:gd name="connsiteX289" fmla="*/ 0 w 12192000"/>
              <a:gd name="connsiteY289" fmla="*/ 240215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12192000" h="6858000">
                <a:moveTo>
                  <a:pt x="5765387" y="552984"/>
                </a:moveTo>
                <a:cubicBezTo>
                  <a:pt x="5757491" y="552728"/>
                  <a:pt x="5749866" y="555802"/>
                  <a:pt x="5743549" y="567982"/>
                </a:cubicBezTo>
                <a:cubicBezTo>
                  <a:pt x="5777117" y="600080"/>
                  <a:pt x="5819889" y="588014"/>
                  <a:pt x="5865186" y="624212"/>
                </a:cubicBezTo>
                <a:cubicBezTo>
                  <a:pt x="5791555" y="612828"/>
                  <a:pt x="5733261" y="603722"/>
                  <a:pt x="5674970" y="594618"/>
                </a:cubicBezTo>
                <a:cubicBezTo>
                  <a:pt x="5673886" y="600991"/>
                  <a:pt x="5672804" y="607366"/>
                  <a:pt x="5671722" y="613739"/>
                </a:cubicBezTo>
                <a:cubicBezTo>
                  <a:pt x="5746257" y="627171"/>
                  <a:pt x="5815197" y="661774"/>
                  <a:pt x="5887746" y="686133"/>
                </a:cubicBezTo>
                <a:cubicBezTo>
                  <a:pt x="5881068" y="701160"/>
                  <a:pt x="5874392" y="698199"/>
                  <a:pt x="5868434" y="697289"/>
                </a:cubicBezTo>
                <a:cubicBezTo>
                  <a:pt x="5829634" y="691369"/>
                  <a:pt x="5790832" y="685452"/>
                  <a:pt x="5753657" y="669287"/>
                </a:cubicBezTo>
                <a:cubicBezTo>
                  <a:pt x="5745355" y="665643"/>
                  <a:pt x="5735248" y="665643"/>
                  <a:pt x="5730555" y="676572"/>
                </a:cubicBezTo>
                <a:cubicBezTo>
                  <a:pt x="5723878" y="692053"/>
                  <a:pt x="5733442" y="702070"/>
                  <a:pt x="5741924" y="710491"/>
                </a:cubicBezTo>
                <a:cubicBezTo>
                  <a:pt x="5756724" y="725062"/>
                  <a:pt x="5774589" y="720965"/>
                  <a:pt x="5791735" y="723695"/>
                </a:cubicBezTo>
                <a:cubicBezTo>
                  <a:pt x="5837394" y="730753"/>
                  <a:pt x="5859232" y="752836"/>
                  <a:pt x="5869339" y="803376"/>
                </a:cubicBezTo>
                <a:cubicBezTo>
                  <a:pt x="5829273" y="782886"/>
                  <a:pt x="5790652" y="808156"/>
                  <a:pt x="5751851" y="793813"/>
                </a:cubicBezTo>
                <a:cubicBezTo>
                  <a:pt x="5741745" y="790172"/>
                  <a:pt x="5725683" y="795634"/>
                  <a:pt x="5731096" y="813164"/>
                </a:cubicBezTo>
                <a:cubicBezTo>
                  <a:pt x="5736150" y="829555"/>
                  <a:pt x="5752933" y="841392"/>
                  <a:pt x="5723155" y="838206"/>
                </a:cubicBezTo>
                <a:cubicBezTo>
                  <a:pt x="5701860" y="835929"/>
                  <a:pt x="5660171" y="854369"/>
                  <a:pt x="5677677" y="858922"/>
                </a:cubicBezTo>
                <a:cubicBezTo>
                  <a:pt x="5699694" y="864614"/>
                  <a:pt x="5721172" y="872810"/>
                  <a:pt x="5749146" y="882143"/>
                </a:cubicBezTo>
                <a:cubicBezTo>
                  <a:pt x="5718283" y="897394"/>
                  <a:pt x="5696085" y="894207"/>
                  <a:pt x="5672804" y="882143"/>
                </a:cubicBezTo>
                <a:cubicBezTo>
                  <a:pt x="5658728" y="874858"/>
                  <a:pt x="5642530" y="866776"/>
                  <a:pt x="5626987" y="862565"/>
                </a:cubicBezTo>
                <a:lnTo>
                  <a:pt x="5611575" y="860624"/>
                </a:lnTo>
                <a:lnTo>
                  <a:pt x="5629275" y="904875"/>
                </a:lnTo>
                <a:cubicBezTo>
                  <a:pt x="5636975" y="929899"/>
                  <a:pt x="5648325" y="981075"/>
                  <a:pt x="5648325" y="981075"/>
                </a:cubicBezTo>
                <a:lnTo>
                  <a:pt x="5646577" y="1001285"/>
                </a:lnTo>
                <a:lnTo>
                  <a:pt x="5653179" y="1004447"/>
                </a:lnTo>
                <a:cubicBezTo>
                  <a:pt x="5672649" y="1015232"/>
                  <a:pt x="5691732" y="1027443"/>
                  <a:pt x="5710342" y="1041501"/>
                </a:cubicBezTo>
                <a:cubicBezTo>
                  <a:pt x="5704025" y="1052200"/>
                  <a:pt x="5671903" y="1082706"/>
                  <a:pt x="5685076" y="1084982"/>
                </a:cubicBezTo>
                <a:cubicBezTo>
                  <a:pt x="5722072" y="1091584"/>
                  <a:pt x="5754918" y="1113894"/>
                  <a:pt x="5788666" y="1132334"/>
                </a:cubicBezTo>
                <a:cubicBezTo>
                  <a:pt x="5803286" y="1140301"/>
                  <a:pt x="5820971" y="1150775"/>
                  <a:pt x="5814113" y="1179230"/>
                </a:cubicBezTo>
                <a:cubicBezTo>
                  <a:pt x="5801661" y="1187198"/>
                  <a:pt x="5792457" y="1176043"/>
                  <a:pt x="5782171" y="1175133"/>
                </a:cubicBezTo>
                <a:cubicBezTo>
                  <a:pt x="5771703" y="1174223"/>
                  <a:pt x="5748241" y="1180140"/>
                  <a:pt x="5754739" y="1184011"/>
                </a:cubicBezTo>
                <a:cubicBezTo>
                  <a:pt x="5784336" y="1201540"/>
                  <a:pt x="5731096" y="1243656"/>
                  <a:pt x="5766109" y="1243656"/>
                </a:cubicBezTo>
                <a:cubicBezTo>
                  <a:pt x="5824761" y="1243883"/>
                  <a:pt x="5855983" y="1318554"/>
                  <a:pt x="5912470" y="1320604"/>
                </a:cubicBezTo>
                <a:cubicBezTo>
                  <a:pt x="5921493" y="1320830"/>
                  <a:pt x="5925825" y="1334034"/>
                  <a:pt x="5925644" y="1345645"/>
                </a:cubicBezTo>
                <a:cubicBezTo>
                  <a:pt x="5925644" y="1359532"/>
                  <a:pt x="5917343" y="1362036"/>
                  <a:pt x="5908138" y="1363402"/>
                </a:cubicBezTo>
                <a:cubicBezTo>
                  <a:pt x="5894061" y="1365450"/>
                  <a:pt x="5879444" y="1345645"/>
                  <a:pt x="5860855" y="1372508"/>
                </a:cubicBezTo>
                <a:cubicBezTo>
                  <a:pt x="5894242" y="1388215"/>
                  <a:pt x="5927629" y="1403924"/>
                  <a:pt x="5927087" y="1457878"/>
                </a:cubicBezTo>
                <a:cubicBezTo>
                  <a:pt x="5926908" y="1472447"/>
                  <a:pt x="5940804" y="1477911"/>
                  <a:pt x="5951271" y="1481553"/>
                </a:cubicBezTo>
                <a:cubicBezTo>
                  <a:pt x="5968597" y="1487473"/>
                  <a:pt x="5983213" y="1497945"/>
                  <a:pt x="5992599" y="1518207"/>
                </a:cubicBezTo>
                <a:cubicBezTo>
                  <a:pt x="5992418" y="1522076"/>
                  <a:pt x="5992238" y="1526174"/>
                  <a:pt x="5993321" y="1529362"/>
                </a:cubicBezTo>
                <a:cubicBezTo>
                  <a:pt x="5990253" y="1578306"/>
                  <a:pt x="5964988" y="1576939"/>
                  <a:pt x="5937015" y="1568746"/>
                </a:cubicBezTo>
                <a:cubicBezTo>
                  <a:pt x="5903627" y="1558728"/>
                  <a:pt x="5870601" y="1540515"/>
                  <a:pt x="5835410" y="1558045"/>
                </a:cubicBezTo>
                <a:cubicBezTo>
                  <a:pt x="5885040" y="1581493"/>
                  <a:pt x="5938999" y="1583315"/>
                  <a:pt x="5985561" y="1616780"/>
                </a:cubicBezTo>
                <a:cubicBezTo>
                  <a:pt x="5815197" y="1622927"/>
                  <a:pt x="5664684" y="1517295"/>
                  <a:pt x="5499552" y="1476774"/>
                </a:cubicBezTo>
                <a:cubicBezTo>
                  <a:pt x="5505146" y="1503863"/>
                  <a:pt x="5518501" y="1509327"/>
                  <a:pt x="5530593" y="1513425"/>
                </a:cubicBezTo>
                <a:cubicBezTo>
                  <a:pt x="5591592" y="1533915"/>
                  <a:pt x="5645011" y="1574665"/>
                  <a:pt x="5700597" y="1609949"/>
                </a:cubicBezTo>
                <a:cubicBezTo>
                  <a:pt x="5723516" y="1624519"/>
                  <a:pt x="5740121" y="1639091"/>
                  <a:pt x="5748782" y="1670507"/>
                </a:cubicBezTo>
                <a:cubicBezTo>
                  <a:pt x="5756544" y="1698963"/>
                  <a:pt x="5771522" y="1712167"/>
                  <a:pt x="5799315" y="1703970"/>
                </a:cubicBezTo>
                <a:cubicBezTo>
                  <a:pt x="5821873" y="1697141"/>
                  <a:pt x="5846597" y="1700783"/>
                  <a:pt x="5870240" y="1703289"/>
                </a:cubicBezTo>
                <a:cubicBezTo>
                  <a:pt x="5897491" y="1706020"/>
                  <a:pt x="5927991" y="1738119"/>
                  <a:pt x="5920591" y="1754738"/>
                </a:cubicBezTo>
                <a:cubicBezTo>
                  <a:pt x="5907958" y="1782967"/>
                  <a:pt x="5886844" y="1768852"/>
                  <a:pt x="5868074" y="1765665"/>
                </a:cubicBezTo>
                <a:cubicBezTo>
                  <a:pt x="5846778" y="1761795"/>
                  <a:pt x="5807256" y="1753826"/>
                  <a:pt x="5806533" y="1757242"/>
                </a:cubicBezTo>
                <a:cubicBezTo>
                  <a:pt x="5792636" y="1828042"/>
                  <a:pt x="5694821" y="1766350"/>
                  <a:pt x="5673706" y="1759972"/>
                </a:cubicBezTo>
                <a:cubicBezTo>
                  <a:pt x="5647358" y="1752006"/>
                  <a:pt x="5622635" y="1766576"/>
                  <a:pt x="5597548" y="1769990"/>
                </a:cubicBezTo>
                <a:cubicBezTo>
                  <a:pt x="5575169" y="1773177"/>
                  <a:pt x="5448658" y="1782967"/>
                  <a:pt x="5422491" y="1752916"/>
                </a:cubicBezTo>
                <a:cubicBezTo>
                  <a:pt x="5418882" y="1776364"/>
                  <a:pt x="5426460" y="1785926"/>
                  <a:pt x="5432778" y="1796626"/>
                </a:cubicBezTo>
                <a:cubicBezTo>
                  <a:pt x="5441620" y="1811878"/>
                  <a:pt x="5443065" y="1822578"/>
                  <a:pt x="5426281" y="1834644"/>
                </a:cubicBezTo>
                <a:cubicBezTo>
                  <a:pt x="5378455" y="1869248"/>
                  <a:pt x="5379178" y="1870385"/>
                  <a:pt x="5423754" y="1917282"/>
                </a:cubicBezTo>
                <a:cubicBezTo>
                  <a:pt x="5425921" y="1919330"/>
                  <a:pt x="5425017" y="1926161"/>
                  <a:pt x="5425378" y="1930714"/>
                </a:cubicBezTo>
                <a:cubicBezTo>
                  <a:pt x="5413647" y="1937998"/>
                  <a:pt x="5399932" y="1919786"/>
                  <a:pt x="5386217" y="1939365"/>
                </a:cubicBezTo>
                <a:cubicBezTo>
                  <a:pt x="5445952" y="2025417"/>
                  <a:pt x="5537091" y="2046587"/>
                  <a:pt x="5619566" y="2111243"/>
                </a:cubicBezTo>
                <a:cubicBezTo>
                  <a:pt x="5552792" y="2132642"/>
                  <a:pt x="5512726" y="2057972"/>
                  <a:pt x="5463640" y="2067533"/>
                </a:cubicBezTo>
                <a:cubicBezTo>
                  <a:pt x="5439094" y="2090982"/>
                  <a:pt x="5512005" y="2128545"/>
                  <a:pt x="5442523" y="2139700"/>
                </a:cubicBezTo>
                <a:cubicBezTo>
                  <a:pt x="5472663" y="2160188"/>
                  <a:pt x="5495041" y="2180220"/>
                  <a:pt x="5515794" y="2203898"/>
                </a:cubicBezTo>
                <a:cubicBezTo>
                  <a:pt x="5552792" y="2246241"/>
                  <a:pt x="5560010" y="2274014"/>
                  <a:pt x="5542865" y="2330929"/>
                </a:cubicBezTo>
                <a:cubicBezTo>
                  <a:pt x="5531676" y="2368264"/>
                  <a:pt x="5515253" y="2402640"/>
                  <a:pt x="5529691" y="2447031"/>
                </a:cubicBezTo>
                <a:cubicBezTo>
                  <a:pt x="5539796" y="2477537"/>
                  <a:pt x="5535826" y="2497570"/>
                  <a:pt x="5498289" y="2483910"/>
                </a:cubicBezTo>
                <a:cubicBezTo>
                  <a:pt x="5457864" y="2469340"/>
                  <a:pt x="5442704" y="2496659"/>
                  <a:pt x="5452810" y="2550157"/>
                </a:cubicBezTo>
                <a:cubicBezTo>
                  <a:pt x="5459307" y="2584534"/>
                  <a:pt x="5452449" y="2595005"/>
                  <a:pt x="5424658" y="2591135"/>
                </a:cubicBezTo>
                <a:cubicBezTo>
                  <a:pt x="5393976" y="2586810"/>
                  <a:pt x="5364740" y="2564271"/>
                  <a:pt x="5326841" y="2575200"/>
                </a:cubicBezTo>
                <a:cubicBezTo>
                  <a:pt x="5357159" y="2637577"/>
                  <a:pt x="5421950" y="2619820"/>
                  <a:pt x="5457322" y="2679238"/>
                </a:cubicBezTo>
                <a:cubicBezTo>
                  <a:pt x="5415093" y="2679464"/>
                  <a:pt x="5382787" y="2679238"/>
                  <a:pt x="5351566" y="2666261"/>
                </a:cubicBezTo>
                <a:cubicBezTo>
                  <a:pt x="5338571" y="2661024"/>
                  <a:pt x="5324314" y="2655562"/>
                  <a:pt x="5317096" y="2673546"/>
                </a:cubicBezTo>
                <a:cubicBezTo>
                  <a:pt x="5308613" y="2695173"/>
                  <a:pt x="5326119" y="2703369"/>
                  <a:pt x="5336768" y="2707238"/>
                </a:cubicBezTo>
                <a:cubicBezTo>
                  <a:pt x="5366726" y="2718166"/>
                  <a:pt x="5389645" y="2744118"/>
                  <a:pt x="5414369" y="2764378"/>
                </a:cubicBezTo>
                <a:cubicBezTo>
                  <a:pt x="5468692" y="2808772"/>
                  <a:pt x="5528248" y="2845879"/>
                  <a:pt x="5574268" y="2919184"/>
                </a:cubicBezTo>
                <a:cubicBezTo>
                  <a:pt x="5516335" y="2900516"/>
                  <a:pt x="5473203" y="2857035"/>
                  <a:pt x="5419422" y="2848157"/>
                </a:cubicBezTo>
                <a:cubicBezTo>
                  <a:pt x="5465985" y="2914859"/>
                  <a:pt x="5525902" y="2958795"/>
                  <a:pt x="5582568" y="3007285"/>
                </a:cubicBezTo>
                <a:cubicBezTo>
                  <a:pt x="5598811" y="3020945"/>
                  <a:pt x="5615234" y="3030279"/>
                  <a:pt x="5618844" y="3060100"/>
                </a:cubicBezTo>
                <a:cubicBezTo>
                  <a:pt x="5625883" y="3117925"/>
                  <a:pt x="5646997" y="3165732"/>
                  <a:pt x="5692115" y="3191228"/>
                </a:cubicBezTo>
                <a:cubicBezTo>
                  <a:pt x="5692475" y="3191457"/>
                  <a:pt x="5689949" y="3200109"/>
                  <a:pt x="5688506" y="3206025"/>
                </a:cubicBezTo>
                <a:cubicBezTo>
                  <a:pt x="5660893" y="3207848"/>
                  <a:pt x="5639057" y="3173699"/>
                  <a:pt x="5603864" y="3184854"/>
                </a:cubicBezTo>
                <a:cubicBezTo>
                  <a:pt x="5637613" y="3231295"/>
                  <a:pt x="5665767" y="3272957"/>
                  <a:pt x="5713591" y="3295040"/>
                </a:cubicBezTo>
                <a:cubicBezTo>
                  <a:pt x="5751851" y="3312567"/>
                  <a:pt x="5799134" y="3322812"/>
                  <a:pt x="5826927" y="3379724"/>
                </a:cubicBezTo>
                <a:cubicBezTo>
                  <a:pt x="5794623" y="3390881"/>
                  <a:pt x="5770619" y="3376768"/>
                  <a:pt x="5746436" y="3366750"/>
                </a:cubicBezTo>
                <a:cubicBezTo>
                  <a:pt x="5709440" y="3351269"/>
                  <a:pt x="5672804" y="3333741"/>
                  <a:pt x="5635807" y="3318259"/>
                </a:cubicBezTo>
                <a:cubicBezTo>
                  <a:pt x="5621731" y="3312340"/>
                  <a:pt x="5606392" y="3308241"/>
                  <a:pt x="5597367" y="3336472"/>
                </a:cubicBezTo>
                <a:cubicBezTo>
                  <a:pt x="5644471" y="3342391"/>
                  <a:pt x="5672624" y="3380636"/>
                  <a:pt x="5702221" y="3416605"/>
                </a:cubicBezTo>
                <a:cubicBezTo>
                  <a:pt x="5718825" y="3436867"/>
                  <a:pt x="5732361" y="3463958"/>
                  <a:pt x="5762317" y="3453714"/>
                </a:cubicBezTo>
                <a:cubicBezTo>
                  <a:pt x="5778019" y="3448251"/>
                  <a:pt x="5787944" y="3463501"/>
                  <a:pt x="5786319" y="3482169"/>
                </a:cubicBezTo>
                <a:cubicBezTo>
                  <a:pt x="5780365" y="3547962"/>
                  <a:pt x="5817001" y="3570954"/>
                  <a:pt x="5854901" y="3583703"/>
                </a:cubicBezTo>
                <a:cubicBezTo>
                  <a:pt x="5926728" y="3607607"/>
                  <a:pt x="5986464" y="3663836"/>
                  <a:pt x="6056305" y="3694570"/>
                </a:cubicBezTo>
                <a:cubicBezTo>
                  <a:pt x="6124163" y="3724393"/>
                  <a:pt x="6176680" y="3795192"/>
                  <a:pt x="6244716" y="3832301"/>
                </a:cubicBezTo>
                <a:cubicBezTo>
                  <a:pt x="6293986" y="3859164"/>
                  <a:pt x="6341089" y="3893766"/>
                  <a:pt x="6391802" y="3918125"/>
                </a:cubicBezTo>
                <a:cubicBezTo>
                  <a:pt x="6511814" y="3975722"/>
                  <a:pt x="6634174" y="4021935"/>
                  <a:pt x="6763572" y="4028537"/>
                </a:cubicBezTo>
                <a:cubicBezTo>
                  <a:pt x="6870411" y="4033774"/>
                  <a:pt x="7797129" y="4028766"/>
                  <a:pt x="8173592" y="3279560"/>
                </a:cubicBezTo>
                <a:cubicBezTo>
                  <a:pt x="8180811" y="3275916"/>
                  <a:pt x="8188931" y="3266355"/>
                  <a:pt x="8191458" y="3257248"/>
                </a:cubicBezTo>
                <a:cubicBezTo>
                  <a:pt x="8203550" y="3214677"/>
                  <a:pt x="8233147" y="3196237"/>
                  <a:pt x="8259856" y="3173245"/>
                </a:cubicBezTo>
                <a:cubicBezTo>
                  <a:pt x="8283318" y="3152983"/>
                  <a:pt x="8308224" y="3131812"/>
                  <a:pt x="8317969" y="3097663"/>
                </a:cubicBezTo>
                <a:cubicBezTo>
                  <a:pt x="8330783" y="3052133"/>
                  <a:pt x="8294328" y="3089468"/>
                  <a:pt x="8287650" y="3072166"/>
                </a:cubicBezTo>
                <a:cubicBezTo>
                  <a:pt x="8301546" y="3048491"/>
                  <a:pt x="8323023" y="3026863"/>
                  <a:pt x="8328617" y="3000000"/>
                </a:cubicBezTo>
                <a:cubicBezTo>
                  <a:pt x="8349009" y="2903020"/>
                  <a:pt x="8393045" y="2832447"/>
                  <a:pt x="8458917" y="2777583"/>
                </a:cubicBezTo>
                <a:cubicBezTo>
                  <a:pt x="8477866" y="2761875"/>
                  <a:pt x="8490318" y="2733190"/>
                  <a:pt x="8516125" y="2728639"/>
                </a:cubicBezTo>
                <a:cubicBezTo>
                  <a:pt x="8573515" y="2718621"/>
                  <a:pt x="8555468" y="2640309"/>
                  <a:pt x="8585788" y="2605478"/>
                </a:cubicBezTo>
                <a:cubicBezTo>
                  <a:pt x="8591563" y="2598874"/>
                  <a:pt x="8596796" y="2585900"/>
                  <a:pt x="8595714" y="2577023"/>
                </a:cubicBezTo>
                <a:cubicBezTo>
                  <a:pt x="8594091" y="2564271"/>
                  <a:pt x="8587232" y="2552206"/>
                  <a:pt x="8581457" y="2540823"/>
                </a:cubicBezTo>
                <a:cubicBezTo>
                  <a:pt x="8575501" y="2529441"/>
                  <a:pt x="8566478" y="2519424"/>
                  <a:pt x="8570809" y="2504399"/>
                </a:cubicBezTo>
                <a:cubicBezTo>
                  <a:pt x="8572612" y="2498253"/>
                  <a:pt x="8571351" y="2476854"/>
                  <a:pt x="8584705" y="2493699"/>
                </a:cubicBezTo>
                <a:cubicBezTo>
                  <a:pt x="8621340" y="2539914"/>
                  <a:pt x="8642637" y="2496205"/>
                  <a:pt x="8674038" y="2475260"/>
                </a:cubicBezTo>
                <a:cubicBezTo>
                  <a:pt x="8648772" y="2453632"/>
                  <a:pt x="8626033" y="2438380"/>
                  <a:pt x="8622243" y="2406054"/>
                </a:cubicBezTo>
                <a:cubicBezTo>
                  <a:pt x="8614483" y="2339351"/>
                  <a:pt x="8581278" y="2308846"/>
                  <a:pt x="8530925" y="2302926"/>
                </a:cubicBezTo>
                <a:cubicBezTo>
                  <a:pt x="8549513" y="2238501"/>
                  <a:pt x="8549513" y="2238501"/>
                  <a:pt x="8489417" y="2229622"/>
                </a:cubicBezTo>
                <a:cubicBezTo>
                  <a:pt x="8512517" y="2188645"/>
                  <a:pt x="8512517" y="2178173"/>
                  <a:pt x="8484543" y="2164058"/>
                </a:cubicBezTo>
                <a:cubicBezTo>
                  <a:pt x="8457653" y="2150626"/>
                  <a:pt x="8427876" y="2146073"/>
                  <a:pt x="8402970" y="2125358"/>
                </a:cubicBezTo>
                <a:cubicBezTo>
                  <a:pt x="8425891" y="2072997"/>
                  <a:pt x="8432387" y="2012214"/>
                  <a:pt x="8479670" y="1986716"/>
                </a:cubicBezTo>
                <a:cubicBezTo>
                  <a:pt x="8487070" y="1982846"/>
                  <a:pt x="8492123" y="1967138"/>
                  <a:pt x="8487432" y="1958032"/>
                </a:cubicBezTo>
                <a:cubicBezTo>
                  <a:pt x="8470286" y="1925023"/>
                  <a:pt x="8494830" y="1862417"/>
                  <a:pt x="8441412" y="1855361"/>
                </a:cubicBezTo>
                <a:cubicBezTo>
                  <a:pt x="8434733" y="1854678"/>
                  <a:pt x="8428597" y="1847847"/>
                  <a:pt x="8433831" y="1838969"/>
                </a:cubicBezTo>
                <a:cubicBezTo>
                  <a:pt x="8451879" y="1808009"/>
                  <a:pt x="8430041" y="1810057"/>
                  <a:pt x="8416868" y="1806187"/>
                </a:cubicBezTo>
                <a:cubicBezTo>
                  <a:pt x="8400985" y="1801408"/>
                  <a:pt x="8382938" y="1815066"/>
                  <a:pt x="8368140" y="1798219"/>
                </a:cubicBezTo>
                <a:cubicBezTo>
                  <a:pt x="8371569" y="1780462"/>
                  <a:pt x="8384382" y="1780689"/>
                  <a:pt x="8393405" y="1774999"/>
                </a:cubicBezTo>
                <a:cubicBezTo>
                  <a:pt x="8419754" y="1758607"/>
                  <a:pt x="8441231" y="1739030"/>
                  <a:pt x="8442495" y="1696458"/>
                </a:cubicBezTo>
                <a:cubicBezTo>
                  <a:pt x="8443396" y="1662083"/>
                  <a:pt x="8446284" y="1631805"/>
                  <a:pt x="8409828" y="1621332"/>
                </a:cubicBezTo>
                <a:cubicBezTo>
                  <a:pt x="8394669" y="1617006"/>
                  <a:pt x="8399001" y="1592193"/>
                  <a:pt x="8407664" y="1579899"/>
                </a:cubicBezTo>
                <a:cubicBezTo>
                  <a:pt x="8423184" y="1558045"/>
                  <a:pt x="8435996" y="1528906"/>
                  <a:pt x="8462707" y="1526857"/>
                </a:cubicBezTo>
                <a:cubicBezTo>
                  <a:pt x="8478949" y="1525492"/>
                  <a:pt x="8491402" y="1516384"/>
                  <a:pt x="8504215" y="1505913"/>
                </a:cubicBezTo>
                <a:cubicBezTo>
                  <a:pt x="8513419" y="1498398"/>
                  <a:pt x="8524428" y="1492025"/>
                  <a:pt x="8523345" y="1475863"/>
                </a:cubicBezTo>
                <a:cubicBezTo>
                  <a:pt x="8522262" y="1460382"/>
                  <a:pt x="8511615" y="1454008"/>
                  <a:pt x="8500786" y="1450820"/>
                </a:cubicBezTo>
                <a:cubicBezTo>
                  <a:pt x="8464691" y="1440577"/>
                  <a:pt x="8430764" y="1425551"/>
                  <a:pt x="8400624" y="1391176"/>
                </a:cubicBezTo>
                <a:cubicBezTo>
                  <a:pt x="8420657" y="1372963"/>
                  <a:pt x="8439787" y="1359759"/>
                  <a:pt x="8454585" y="1341319"/>
                </a:cubicBezTo>
                <a:cubicBezTo>
                  <a:pt x="8490318" y="1296701"/>
                  <a:pt x="8187668" y="1156238"/>
                  <a:pt x="8172509" y="1106153"/>
                </a:cubicBezTo>
                <a:cubicBezTo>
                  <a:pt x="8167817" y="1090673"/>
                  <a:pt x="8151755" y="1074738"/>
                  <a:pt x="8138399" y="1070184"/>
                </a:cubicBezTo>
                <a:cubicBezTo>
                  <a:pt x="8075777" y="1048785"/>
                  <a:pt x="8021456" y="1000749"/>
                  <a:pt x="7957388" y="982992"/>
                </a:cubicBezTo>
                <a:cubicBezTo>
                  <a:pt x="7896929" y="966147"/>
                  <a:pt x="7837375" y="943608"/>
                  <a:pt x="7771142" y="921300"/>
                </a:cubicBezTo>
                <a:cubicBezTo>
                  <a:pt x="7811747" y="865296"/>
                  <a:pt x="7883756" y="871899"/>
                  <a:pt x="7900539" y="791082"/>
                </a:cubicBezTo>
                <a:cubicBezTo>
                  <a:pt x="7835028" y="770137"/>
                  <a:pt x="7766090" y="794042"/>
                  <a:pt x="7702923" y="760803"/>
                </a:cubicBezTo>
                <a:cubicBezTo>
                  <a:pt x="7697509" y="757845"/>
                  <a:pt x="7690109" y="760803"/>
                  <a:pt x="7683614" y="761714"/>
                </a:cubicBezTo>
                <a:cubicBezTo>
                  <a:pt x="7553493" y="779471"/>
                  <a:pt x="7423915" y="763991"/>
                  <a:pt x="7295600" y="741680"/>
                </a:cubicBezTo>
                <a:cubicBezTo>
                  <a:pt x="7110798" y="709810"/>
                  <a:pt x="6925273" y="689548"/>
                  <a:pt x="6739388" y="675206"/>
                </a:cubicBezTo>
                <a:cubicBezTo>
                  <a:pt x="6585807" y="663367"/>
                  <a:pt x="6431866" y="658132"/>
                  <a:pt x="6279006" y="635367"/>
                </a:cubicBezTo>
                <a:cubicBezTo>
                  <a:pt x="6115501" y="611009"/>
                  <a:pt x="5952175" y="583462"/>
                  <a:pt x="5788847" y="557964"/>
                </a:cubicBezTo>
                <a:cubicBezTo>
                  <a:pt x="5781448" y="556825"/>
                  <a:pt x="5773282" y="553240"/>
                  <a:pt x="5765387" y="552984"/>
                </a:cubicBezTo>
                <a:close/>
                <a:moveTo>
                  <a:pt x="0" y="0"/>
                </a:moveTo>
                <a:lnTo>
                  <a:pt x="768106" y="0"/>
                </a:lnTo>
                <a:lnTo>
                  <a:pt x="767098" y="10118"/>
                </a:lnTo>
                <a:cubicBezTo>
                  <a:pt x="765697" y="22412"/>
                  <a:pt x="763205" y="34103"/>
                  <a:pt x="756850" y="43654"/>
                </a:cubicBezTo>
                <a:cubicBezTo>
                  <a:pt x="749894" y="54193"/>
                  <a:pt x="757386" y="72374"/>
                  <a:pt x="768357" y="76852"/>
                </a:cubicBezTo>
                <a:cubicBezTo>
                  <a:pt x="838462" y="106364"/>
                  <a:pt x="848094" y="176713"/>
                  <a:pt x="882077" y="237315"/>
                </a:cubicBezTo>
                <a:cubicBezTo>
                  <a:pt x="845150" y="261290"/>
                  <a:pt x="801001" y="266560"/>
                  <a:pt x="761133" y="282106"/>
                </a:cubicBezTo>
                <a:cubicBezTo>
                  <a:pt x="719657" y="298442"/>
                  <a:pt x="719657" y="310562"/>
                  <a:pt x="753907" y="357988"/>
                </a:cubicBezTo>
                <a:cubicBezTo>
                  <a:pt x="664804" y="368265"/>
                  <a:pt x="664804" y="368265"/>
                  <a:pt x="692364" y="442830"/>
                </a:cubicBezTo>
                <a:cubicBezTo>
                  <a:pt x="617709" y="449681"/>
                  <a:pt x="568477" y="484987"/>
                  <a:pt x="556972" y="562188"/>
                </a:cubicBezTo>
                <a:cubicBezTo>
                  <a:pt x="551352" y="599602"/>
                  <a:pt x="517637" y="617254"/>
                  <a:pt x="480177" y="642286"/>
                </a:cubicBezTo>
                <a:cubicBezTo>
                  <a:pt x="526734" y="666528"/>
                  <a:pt x="558310" y="717115"/>
                  <a:pt x="612627" y="663627"/>
                </a:cubicBezTo>
                <a:cubicBezTo>
                  <a:pt x="632427" y="644130"/>
                  <a:pt x="630557" y="668898"/>
                  <a:pt x="633230" y="676011"/>
                </a:cubicBezTo>
                <a:cubicBezTo>
                  <a:pt x="639651" y="693400"/>
                  <a:pt x="626274" y="704995"/>
                  <a:pt x="617443" y="718168"/>
                </a:cubicBezTo>
                <a:cubicBezTo>
                  <a:pt x="608881" y="731343"/>
                  <a:pt x="598711" y="745306"/>
                  <a:pt x="596304" y="760064"/>
                </a:cubicBezTo>
                <a:cubicBezTo>
                  <a:pt x="594700" y="770339"/>
                  <a:pt x="602459" y="785355"/>
                  <a:pt x="611021" y="792998"/>
                </a:cubicBezTo>
                <a:cubicBezTo>
                  <a:pt x="655975" y="833311"/>
                  <a:pt x="629217" y="923949"/>
                  <a:pt x="714308" y="935543"/>
                </a:cubicBezTo>
                <a:cubicBezTo>
                  <a:pt x="752570" y="940811"/>
                  <a:pt x="771032" y="974010"/>
                  <a:pt x="799128" y="992190"/>
                </a:cubicBezTo>
                <a:cubicBezTo>
                  <a:pt x="896793" y="1055689"/>
                  <a:pt x="962082" y="1137368"/>
                  <a:pt x="992317" y="1249612"/>
                </a:cubicBezTo>
                <a:cubicBezTo>
                  <a:pt x="1000611" y="1280703"/>
                  <a:pt x="1032454" y="1305735"/>
                  <a:pt x="1053058" y="1333136"/>
                </a:cubicBezTo>
                <a:cubicBezTo>
                  <a:pt x="1043156" y="1353160"/>
                  <a:pt x="989106" y="1309949"/>
                  <a:pt x="1008104" y="1362645"/>
                </a:cubicBezTo>
                <a:cubicBezTo>
                  <a:pt x="1022553" y="1402169"/>
                  <a:pt x="1059480" y="1426672"/>
                  <a:pt x="1094265" y="1450123"/>
                </a:cubicBezTo>
                <a:cubicBezTo>
                  <a:pt x="1133866" y="1476733"/>
                  <a:pt x="1177749" y="1498075"/>
                  <a:pt x="1195677" y="1547347"/>
                </a:cubicBezTo>
                <a:cubicBezTo>
                  <a:pt x="1199423" y="1557887"/>
                  <a:pt x="1211463" y="1568953"/>
                  <a:pt x="1222166" y="1573170"/>
                </a:cubicBezTo>
                <a:cubicBezTo>
                  <a:pt x="1780331" y="2440289"/>
                  <a:pt x="3154333" y="2446085"/>
                  <a:pt x="3312738" y="2440024"/>
                </a:cubicBezTo>
                <a:cubicBezTo>
                  <a:pt x="3504591" y="2432384"/>
                  <a:pt x="3686008" y="2378897"/>
                  <a:pt x="3863944" y="2312235"/>
                </a:cubicBezTo>
                <a:cubicBezTo>
                  <a:pt x="3939135" y="2284043"/>
                  <a:pt x="4008972" y="2243995"/>
                  <a:pt x="4082022" y="2212904"/>
                </a:cubicBezTo>
                <a:cubicBezTo>
                  <a:pt x="4182897" y="2169955"/>
                  <a:pt x="4260761" y="2088012"/>
                  <a:pt x="4361371" y="2053496"/>
                </a:cubicBezTo>
                <a:cubicBezTo>
                  <a:pt x="4464921" y="2017925"/>
                  <a:pt x="4553490" y="1952846"/>
                  <a:pt x="4659987" y="1925180"/>
                </a:cubicBezTo>
                <a:cubicBezTo>
                  <a:pt x="4716177" y="1910425"/>
                  <a:pt x="4770494" y="1883815"/>
                  <a:pt x="4761667" y="1807667"/>
                </a:cubicBezTo>
                <a:cubicBezTo>
                  <a:pt x="4759257" y="1786061"/>
                  <a:pt x="4773973" y="1768410"/>
                  <a:pt x="4797253" y="1774733"/>
                </a:cubicBezTo>
                <a:cubicBezTo>
                  <a:pt x="4841669" y="1786589"/>
                  <a:pt x="4861738" y="1755234"/>
                  <a:pt x="4886356" y="1731784"/>
                </a:cubicBezTo>
                <a:cubicBezTo>
                  <a:pt x="4930237" y="1690154"/>
                  <a:pt x="4971978" y="1645890"/>
                  <a:pt x="5041818" y="1639039"/>
                </a:cubicBezTo>
                <a:cubicBezTo>
                  <a:pt x="5028440" y="1606365"/>
                  <a:pt x="5005695" y="1611110"/>
                  <a:pt x="4984824" y="1617960"/>
                </a:cubicBezTo>
                <a:cubicBezTo>
                  <a:pt x="4929971" y="1635878"/>
                  <a:pt x="4875653" y="1656165"/>
                  <a:pt x="4820800" y="1674082"/>
                </a:cubicBezTo>
                <a:cubicBezTo>
                  <a:pt x="4784945" y="1685677"/>
                  <a:pt x="4749356" y="1702012"/>
                  <a:pt x="4701459" y="1689099"/>
                </a:cubicBezTo>
                <a:cubicBezTo>
                  <a:pt x="4742668" y="1623230"/>
                  <a:pt x="4812771" y="1611373"/>
                  <a:pt x="4869498" y="1591086"/>
                </a:cubicBezTo>
                <a:cubicBezTo>
                  <a:pt x="4940404" y="1565528"/>
                  <a:pt x="4982147" y="1517309"/>
                  <a:pt x="5032185" y="1463559"/>
                </a:cubicBezTo>
                <a:cubicBezTo>
                  <a:pt x="4980006" y="1450649"/>
                  <a:pt x="4947630" y="1490172"/>
                  <a:pt x="4906692" y="1488062"/>
                </a:cubicBezTo>
                <a:cubicBezTo>
                  <a:pt x="4904550" y="1481215"/>
                  <a:pt x="4900805" y="1471202"/>
                  <a:pt x="4901340" y="1470936"/>
                </a:cubicBezTo>
                <a:cubicBezTo>
                  <a:pt x="4968234" y="1441427"/>
                  <a:pt x="4999539" y="1386097"/>
                  <a:pt x="5009976" y="1319171"/>
                </a:cubicBezTo>
                <a:cubicBezTo>
                  <a:pt x="5015328" y="1284656"/>
                  <a:pt x="5039677" y="1273853"/>
                  <a:pt x="5063760" y="1258044"/>
                </a:cubicBezTo>
                <a:cubicBezTo>
                  <a:pt x="5147777" y="1201922"/>
                  <a:pt x="5236613" y="1151071"/>
                  <a:pt x="5305648" y="1073871"/>
                </a:cubicBezTo>
                <a:cubicBezTo>
                  <a:pt x="5225910" y="1084147"/>
                  <a:pt x="5161960" y="1134471"/>
                  <a:pt x="5076067" y="1156077"/>
                </a:cubicBezTo>
                <a:cubicBezTo>
                  <a:pt x="5144298" y="1071235"/>
                  <a:pt x="5232600" y="1028288"/>
                  <a:pt x="5313141" y="976907"/>
                </a:cubicBezTo>
                <a:cubicBezTo>
                  <a:pt x="5349798" y="953458"/>
                  <a:pt x="5383779" y="923421"/>
                  <a:pt x="5428196" y="910774"/>
                </a:cubicBezTo>
                <a:cubicBezTo>
                  <a:pt x="5443985" y="906295"/>
                  <a:pt x="5469939" y="896809"/>
                  <a:pt x="5457363" y="871779"/>
                </a:cubicBezTo>
                <a:cubicBezTo>
                  <a:pt x="5446661" y="850965"/>
                  <a:pt x="5425523" y="857286"/>
                  <a:pt x="5406256" y="863347"/>
                </a:cubicBezTo>
                <a:cubicBezTo>
                  <a:pt x="5359965" y="878367"/>
                  <a:pt x="5312069" y="878629"/>
                  <a:pt x="5249456" y="878367"/>
                </a:cubicBezTo>
                <a:cubicBezTo>
                  <a:pt x="5301901" y="809597"/>
                  <a:pt x="5397963" y="830149"/>
                  <a:pt x="5442914" y="757955"/>
                </a:cubicBezTo>
                <a:cubicBezTo>
                  <a:pt x="5386723" y="745306"/>
                  <a:pt x="5343376" y="771392"/>
                  <a:pt x="5297887" y="776398"/>
                </a:cubicBezTo>
                <a:cubicBezTo>
                  <a:pt x="5256683" y="780877"/>
                  <a:pt x="5246513" y="768758"/>
                  <a:pt x="5256146" y="728971"/>
                </a:cubicBezTo>
                <a:cubicBezTo>
                  <a:pt x="5271129" y="667053"/>
                  <a:pt x="5248653" y="635435"/>
                  <a:pt x="5188716" y="652298"/>
                </a:cubicBezTo>
                <a:cubicBezTo>
                  <a:pt x="5133062" y="668107"/>
                  <a:pt x="5127175" y="644922"/>
                  <a:pt x="5142160" y="609614"/>
                </a:cubicBezTo>
                <a:cubicBezTo>
                  <a:pt x="5163564" y="558237"/>
                  <a:pt x="5139216" y="518450"/>
                  <a:pt x="5122626" y="475239"/>
                </a:cubicBezTo>
                <a:cubicBezTo>
                  <a:pt x="5097205" y="409367"/>
                  <a:pt x="5107908" y="377223"/>
                  <a:pt x="5162763" y="328215"/>
                </a:cubicBezTo>
                <a:cubicBezTo>
                  <a:pt x="5193532" y="300811"/>
                  <a:pt x="5226711" y="277627"/>
                  <a:pt x="5271399" y="253914"/>
                </a:cubicBezTo>
                <a:cubicBezTo>
                  <a:pt x="5168381" y="241003"/>
                  <a:pt x="5276483" y="197528"/>
                  <a:pt x="5240091" y="170389"/>
                </a:cubicBezTo>
                <a:cubicBezTo>
                  <a:pt x="5167310" y="159323"/>
                  <a:pt x="5107908" y="245745"/>
                  <a:pt x="5008904" y="220979"/>
                </a:cubicBezTo>
                <a:cubicBezTo>
                  <a:pt x="5131187" y="146147"/>
                  <a:pt x="5266315" y="121645"/>
                  <a:pt x="5354881" y="22050"/>
                </a:cubicBezTo>
                <a:cubicBezTo>
                  <a:pt x="5334546" y="-611"/>
                  <a:pt x="5314210" y="20468"/>
                  <a:pt x="5296818" y="12038"/>
                </a:cubicBezTo>
                <a:cubicBezTo>
                  <a:pt x="5297085" y="9403"/>
                  <a:pt x="5296884" y="6109"/>
                  <a:pt x="5297018" y="3177"/>
                </a:cubicBezTo>
                <a:lnTo>
                  <a:pt x="5298067" y="0"/>
                </a:lnTo>
                <a:lnTo>
                  <a:pt x="8958468" y="0"/>
                </a:lnTo>
                <a:lnTo>
                  <a:pt x="8936439" y="18562"/>
                </a:lnTo>
                <a:cubicBezTo>
                  <a:pt x="8928025" y="29598"/>
                  <a:pt x="8926611" y="39110"/>
                  <a:pt x="8934304" y="46608"/>
                </a:cubicBezTo>
                <a:cubicBezTo>
                  <a:pt x="8959791" y="71400"/>
                  <a:pt x="8992737" y="89152"/>
                  <a:pt x="9027240" y="113638"/>
                </a:cubicBezTo>
                <a:cubicBezTo>
                  <a:pt x="8975330" y="159853"/>
                  <a:pt x="8916899" y="180054"/>
                  <a:pt x="8854734" y="193826"/>
                </a:cubicBezTo>
                <a:cubicBezTo>
                  <a:pt x="8836083" y="198111"/>
                  <a:pt x="8817746" y="206680"/>
                  <a:pt x="8815880" y="227493"/>
                </a:cubicBezTo>
                <a:cubicBezTo>
                  <a:pt x="8814017" y="249223"/>
                  <a:pt x="8832977" y="257791"/>
                  <a:pt x="8848828" y="267894"/>
                </a:cubicBezTo>
                <a:cubicBezTo>
                  <a:pt x="8870895" y="281971"/>
                  <a:pt x="8892342" y="294216"/>
                  <a:pt x="8920315" y="296052"/>
                </a:cubicBezTo>
                <a:cubicBezTo>
                  <a:pt x="8966319" y="298806"/>
                  <a:pt x="8988385" y="337982"/>
                  <a:pt x="9015115" y="367363"/>
                </a:cubicBezTo>
                <a:cubicBezTo>
                  <a:pt x="9030034" y="383892"/>
                  <a:pt x="9037496" y="417251"/>
                  <a:pt x="9011388" y="423067"/>
                </a:cubicBezTo>
                <a:cubicBezTo>
                  <a:pt x="8948601" y="437148"/>
                  <a:pt x="8953575" y="477853"/>
                  <a:pt x="8955127" y="524068"/>
                </a:cubicBezTo>
                <a:cubicBezTo>
                  <a:pt x="8957303" y="581304"/>
                  <a:pt x="8994292" y="607624"/>
                  <a:pt x="9039672" y="629661"/>
                </a:cubicBezTo>
                <a:cubicBezTo>
                  <a:pt x="9055213" y="637312"/>
                  <a:pt x="9077279" y="637006"/>
                  <a:pt x="9083187" y="660880"/>
                </a:cubicBezTo>
                <a:cubicBezTo>
                  <a:pt x="9057699" y="683528"/>
                  <a:pt x="9026617" y="665166"/>
                  <a:pt x="8999263" y="671592"/>
                </a:cubicBezTo>
                <a:cubicBezTo>
                  <a:pt x="8976575" y="676794"/>
                  <a:pt x="8938965" y="674041"/>
                  <a:pt x="8970048" y="715664"/>
                </a:cubicBezTo>
                <a:cubicBezTo>
                  <a:pt x="8979063" y="727601"/>
                  <a:pt x="8968494" y="736784"/>
                  <a:pt x="8956992" y="737702"/>
                </a:cubicBezTo>
                <a:cubicBezTo>
                  <a:pt x="8864991" y="747189"/>
                  <a:pt x="8907262" y="831359"/>
                  <a:pt x="8877733" y="875737"/>
                </a:cubicBezTo>
                <a:cubicBezTo>
                  <a:pt x="8869654" y="887979"/>
                  <a:pt x="8878357" y="909097"/>
                  <a:pt x="8891100" y="914300"/>
                </a:cubicBezTo>
                <a:cubicBezTo>
                  <a:pt x="8972534" y="948581"/>
                  <a:pt x="8983724" y="1030299"/>
                  <a:pt x="9023199" y="1100695"/>
                </a:cubicBezTo>
                <a:cubicBezTo>
                  <a:pt x="8980304" y="1128545"/>
                  <a:pt x="8929020" y="1134666"/>
                  <a:pt x="8882708" y="1152725"/>
                </a:cubicBezTo>
                <a:cubicBezTo>
                  <a:pt x="8834530" y="1171701"/>
                  <a:pt x="8834530" y="1185780"/>
                  <a:pt x="8874315" y="1240870"/>
                </a:cubicBezTo>
                <a:cubicBezTo>
                  <a:pt x="8770812" y="1252808"/>
                  <a:pt x="8770812" y="1252808"/>
                  <a:pt x="8802826" y="1339424"/>
                </a:cubicBezTo>
                <a:cubicBezTo>
                  <a:pt x="8716105" y="1347382"/>
                  <a:pt x="8658917" y="1388394"/>
                  <a:pt x="8645552" y="1478072"/>
                </a:cubicBezTo>
                <a:cubicBezTo>
                  <a:pt x="8639024" y="1521532"/>
                  <a:pt x="8599861" y="1542037"/>
                  <a:pt x="8556347" y="1571114"/>
                </a:cubicBezTo>
                <a:cubicBezTo>
                  <a:pt x="8610428" y="1599274"/>
                  <a:pt x="8647106" y="1658037"/>
                  <a:pt x="8710202" y="1595904"/>
                </a:cubicBezTo>
                <a:cubicBezTo>
                  <a:pt x="8733202" y="1573257"/>
                  <a:pt x="8731030" y="1602027"/>
                  <a:pt x="8734135" y="1610290"/>
                </a:cubicBezTo>
                <a:cubicBezTo>
                  <a:pt x="8741594" y="1630489"/>
                  <a:pt x="8726054" y="1643958"/>
                  <a:pt x="8715797" y="1659260"/>
                </a:cubicBezTo>
                <a:cubicBezTo>
                  <a:pt x="8705851" y="1674564"/>
                  <a:pt x="8694038" y="1690784"/>
                  <a:pt x="8691242" y="1707927"/>
                </a:cubicBezTo>
                <a:cubicBezTo>
                  <a:pt x="8689378" y="1719862"/>
                  <a:pt x="8698391" y="1737306"/>
                  <a:pt x="8708337" y="1746183"/>
                </a:cubicBezTo>
                <a:cubicBezTo>
                  <a:pt x="8760556" y="1793011"/>
                  <a:pt x="8729474" y="1898297"/>
                  <a:pt x="8828316" y="1911765"/>
                </a:cubicBezTo>
                <a:cubicBezTo>
                  <a:pt x="8872762" y="1917884"/>
                  <a:pt x="8894207" y="1956449"/>
                  <a:pt x="8926844" y="1977567"/>
                </a:cubicBezTo>
                <a:cubicBezTo>
                  <a:pt x="9040293" y="2051328"/>
                  <a:pt x="9116134" y="2146208"/>
                  <a:pt x="9151255" y="2276592"/>
                </a:cubicBezTo>
                <a:cubicBezTo>
                  <a:pt x="9160890" y="2312707"/>
                  <a:pt x="9197879" y="2341785"/>
                  <a:pt x="9221812" y="2373614"/>
                </a:cubicBezTo>
                <a:cubicBezTo>
                  <a:pt x="9210310" y="2396875"/>
                  <a:pt x="9147525" y="2346680"/>
                  <a:pt x="9169593" y="2407892"/>
                </a:cubicBezTo>
                <a:cubicBezTo>
                  <a:pt x="9186377" y="2453803"/>
                  <a:pt x="9229272" y="2482267"/>
                  <a:pt x="9269679" y="2509507"/>
                </a:cubicBezTo>
                <a:cubicBezTo>
                  <a:pt x="9315680" y="2540419"/>
                  <a:pt x="9366654" y="2565210"/>
                  <a:pt x="9387480" y="2622444"/>
                </a:cubicBezTo>
                <a:cubicBezTo>
                  <a:pt x="9391832" y="2634687"/>
                  <a:pt x="9405817" y="2647542"/>
                  <a:pt x="9418250" y="2652440"/>
                </a:cubicBezTo>
                <a:cubicBezTo>
                  <a:pt x="10066621" y="3659697"/>
                  <a:pt x="11662679" y="3666430"/>
                  <a:pt x="11846684" y="3659389"/>
                </a:cubicBezTo>
                <a:cubicBezTo>
                  <a:pt x="11958113" y="3654952"/>
                  <a:pt x="12066512" y="3637200"/>
                  <a:pt x="12172890" y="3610878"/>
                </a:cubicBezTo>
                <a:lnTo>
                  <a:pt x="12192000" y="3605403"/>
                </a:lnTo>
                <a:lnTo>
                  <a:pt x="12192000" y="6858000"/>
                </a:lnTo>
                <a:lnTo>
                  <a:pt x="2667892" y="6858000"/>
                </a:lnTo>
                <a:lnTo>
                  <a:pt x="2654380" y="6849405"/>
                </a:lnTo>
                <a:cubicBezTo>
                  <a:pt x="2607569" y="6826978"/>
                  <a:pt x="2555222" y="6809052"/>
                  <a:pt x="2517472" y="6768410"/>
                </a:cubicBezTo>
                <a:cubicBezTo>
                  <a:pt x="2640621" y="6736030"/>
                  <a:pt x="2751355" y="6703317"/>
                  <a:pt x="2863768" y="6678867"/>
                </a:cubicBezTo>
                <a:cubicBezTo>
                  <a:pt x="2982893" y="6653093"/>
                  <a:pt x="3083895" y="6583373"/>
                  <a:pt x="3200332" y="6552312"/>
                </a:cubicBezTo>
                <a:cubicBezTo>
                  <a:pt x="3225166" y="6545703"/>
                  <a:pt x="3255030" y="6522574"/>
                  <a:pt x="3263755" y="6500106"/>
                </a:cubicBezTo>
                <a:cubicBezTo>
                  <a:pt x="3291941" y="6427411"/>
                  <a:pt x="3854674" y="6223537"/>
                  <a:pt x="3788234" y="6158777"/>
                </a:cubicBezTo>
                <a:cubicBezTo>
                  <a:pt x="3760718" y="6132011"/>
                  <a:pt x="3725150" y="6112847"/>
                  <a:pt x="3687901" y="6086412"/>
                </a:cubicBezTo>
                <a:cubicBezTo>
                  <a:pt x="3743942" y="6036518"/>
                  <a:pt x="3807024" y="6014710"/>
                  <a:pt x="3874137" y="5999841"/>
                </a:cubicBezTo>
                <a:cubicBezTo>
                  <a:pt x="3894273" y="5995216"/>
                  <a:pt x="3914069" y="5985964"/>
                  <a:pt x="3916083" y="5963494"/>
                </a:cubicBezTo>
                <a:cubicBezTo>
                  <a:pt x="3918095" y="5940035"/>
                  <a:pt x="3897626" y="5930785"/>
                  <a:pt x="3880513" y="5919878"/>
                </a:cubicBezTo>
                <a:cubicBezTo>
                  <a:pt x="3856689" y="5904680"/>
                  <a:pt x="3833535" y="5891460"/>
                  <a:pt x="3803335" y="5889479"/>
                </a:cubicBezTo>
                <a:cubicBezTo>
                  <a:pt x="3753670" y="5886505"/>
                  <a:pt x="3729848" y="5844211"/>
                  <a:pt x="3700990" y="5812491"/>
                </a:cubicBezTo>
                <a:cubicBezTo>
                  <a:pt x="3684884" y="5794647"/>
                  <a:pt x="3676828" y="5758633"/>
                  <a:pt x="3705014" y="5752353"/>
                </a:cubicBezTo>
                <a:cubicBezTo>
                  <a:pt x="3772798" y="5737152"/>
                  <a:pt x="3767428" y="5693207"/>
                  <a:pt x="3765753" y="5643313"/>
                </a:cubicBezTo>
                <a:cubicBezTo>
                  <a:pt x="3763404" y="5581522"/>
                  <a:pt x="3723470" y="5553107"/>
                  <a:pt x="3674479" y="5529315"/>
                </a:cubicBezTo>
                <a:cubicBezTo>
                  <a:pt x="3657701" y="5521056"/>
                  <a:pt x="3633878" y="5521386"/>
                  <a:pt x="3627501" y="5495612"/>
                </a:cubicBezTo>
                <a:cubicBezTo>
                  <a:pt x="3655017" y="5471161"/>
                  <a:pt x="3688572" y="5490985"/>
                  <a:pt x="3718104" y="5484048"/>
                </a:cubicBezTo>
                <a:cubicBezTo>
                  <a:pt x="3742598" y="5478431"/>
                  <a:pt x="3783202" y="5481403"/>
                  <a:pt x="3749644" y="5436467"/>
                </a:cubicBezTo>
                <a:cubicBezTo>
                  <a:pt x="3739912" y="5423580"/>
                  <a:pt x="3751322" y="5413666"/>
                  <a:pt x="3763740" y="5412675"/>
                </a:cubicBezTo>
                <a:cubicBezTo>
                  <a:pt x="3863064" y="5402433"/>
                  <a:pt x="3817428" y="5311564"/>
                  <a:pt x="3849307" y="5263654"/>
                </a:cubicBezTo>
                <a:cubicBezTo>
                  <a:pt x="3858030" y="5250437"/>
                  <a:pt x="3848634" y="5227638"/>
                  <a:pt x="3834876" y="5222021"/>
                </a:cubicBezTo>
                <a:cubicBezTo>
                  <a:pt x="3746960" y="5185011"/>
                  <a:pt x="3734880" y="5096789"/>
                  <a:pt x="3692263" y="5020790"/>
                </a:cubicBezTo>
                <a:cubicBezTo>
                  <a:pt x="3738572" y="4990724"/>
                  <a:pt x="3793938" y="4984115"/>
                  <a:pt x="3843936" y="4964619"/>
                </a:cubicBezTo>
                <a:cubicBezTo>
                  <a:pt x="3895949" y="4944132"/>
                  <a:pt x="3895949" y="4928933"/>
                  <a:pt x="3852997" y="4869458"/>
                </a:cubicBezTo>
                <a:cubicBezTo>
                  <a:pt x="3964739" y="4856569"/>
                  <a:pt x="3964739" y="4856569"/>
                  <a:pt x="3930177" y="4763060"/>
                </a:cubicBezTo>
                <a:cubicBezTo>
                  <a:pt x="4023800" y="4754468"/>
                  <a:pt x="4085540" y="4710192"/>
                  <a:pt x="4099968" y="4613376"/>
                </a:cubicBezTo>
                <a:cubicBezTo>
                  <a:pt x="4107016" y="4566456"/>
                  <a:pt x="4149296" y="4544320"/>
                  <a:pt x="4196274" y="4512928"/>
                </a:cubicBezTo>
                <a:cubicBezTo>
                  <a:pt x="4137888" y="4482527"/>
                  <a:pt x="4098290" y="4419087"/>
                  <a:pt x="4030173" y="4486165"/>
                </a:cubicBezTo>
                <a:cubicBezTo>
                  <a:pt x="4005342" y="4510615"/>
                  <a:pt x="4007687" y="4479555"/>
                  <a:pt x="4004335" y="4470634"/>
                </a:cubicBezTo>
                <a:cubicBezTo>
                  <a:pt x="3996282" y="4448827"/>
                  <a:pt x="4013059" y="4434287"/>
                  <a:pt x="4024133" y="4417767"/>
                </a:cubicBezTo>
                <a:cubicBezTo>
                  <a:pt x="4034870" y="4401245"/>
                  <a:pt x="4047624" y="4383734"/>
                  <a:pt x="4050642" y="4365226"/>
                </a:cubicBezTo>
                <a:cubicBezTo>
                  <a:pt x="4052655" y="4352340"/>
                  <a:pt x="4042924" y="4333509"/>
                  <a:pt x="4032186" y="4323924"/>
                </a:cubicBezTo>
                <a:cubicBezTo>
                  <a:pt x="3975811" y="4273370"/>
                  <a:pt x="4009367" y="4159704"/>
                  <a:pt x="3902658" y="4145163"/>
                </a:cubicBezTo>
                <a:cubicBezTo>
                  <a:pt x="3854674" y="4138557"/>
                  <a:pt x="3831522" y="4096923"/>
                  <a:pt x="3796288" y="4074123"/>
                </a:cubicBezTo>
                <a:cubicBezTo>
                  <a:pt x="3673808" y="3994492"/>
                  <a:pt x="3591931" y="3892060"/>
                  <a:pt x="3554015" y="3751298"/>
                </a:cubicBezTo>
                <a:cubicBezTo>
                  <a:pt x="3543613" y="3712308"/>
                  <a:pt x="3503679" y="3680917"/>
                  <a:pt x="3477841" y="3646554"/>
                </a:cubicBezTo>
                <a:cubicBezTo>
                  <a:pt x="3490259" y="3621441"/>
                  <a:pt x="3558041" y="3675631"/>
                  <a:pt x="3534217" y="3609547"/>
                </a:cubicBezTo>
                <a:cubicBezTo>
                  <a:pt x="3516097" y="3559982"/>
                  <a:pt x="3469788" y="3529253"/>
                  <a:pt x="3426164" y="3499844"/>
                </a:cubicBezTo>
                <a:cubicBezTo>
                  <a:pt x="3376502" y="3466472"/>
                  <a:pt x="3321470" y="3439708"/>
                  <a:pt x="3298987" y="3377918"/>
                </a:cubicBezTo>
                <a:cubicBezTo>
                  <a:pt x="3294289" y="3364700"/>
                  <a:pt x="3279190" y="3350823"/>
                  <a:pt x="3265768" y="3345534"/>
                </a:cubicBezTo>
                <a:cubicBezTo>
                  <a:pt x="2609539" y="2326070"/>
                  <a:pt x="1054085" y="2255965"/>
                  <a:pt x="698533" y="2257448"/>
                </a:cubicBezTo>
                <a:cubicBezTo>
                  <a:pt x="674830" y="2257546"/>
                  <a:pt x="656459" y="2257963"/>
                  <a:pt x="644044" y="2258439"/>
                </a:cubicBezTo>
                <a:cubicBezTo>
                  <a:pt x="463596" y="2265625"/>
                  <a:pt x="290510" y="2305151"/>
                  <a:pt x="121106" y="2359734"/>
                </a:cubicBezTo>
                <a:lnTo>
                  <a:pt x="0" y="2402158"/>
                </a:lnTo>
                <a:close/>
              </a:path>
            </a:pathLst>
          </a:custGeom>
          <a:solidFill>
            <a:schemeClr val="bg2">
              <a:alpha val="50000"/>
            </a:schemeClr>
          </a:solidFill>
          <a:ln w="32707"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2" name="Title 1">
            <a:extLst>
              <a:ext uri="{FF2B5EF4-FFF2-40B4-BE49-F238E27FC236}">
                <a16:creationId xmlns:a16="http://schemas.microsoft.com/office/drawing/2014/main" id="{987AAFC5-C9D9-7B8D-87A2-8E7799DE3116}"/>
              </a:ext>
            </a:extLst>
          </p:cNvPr>
          <p:cNvSpPr>
            <a:spLocks noGrp="1"/>
          </p:cNvSpPr>
          <p:nvPr>
            <p:ph type="title"/>
          </p:nvPr>
        </p:nvSpPr>
        <p:spPr>
          <a:xfrm>
            <a:off x="4654295" y="4029234"/>
            <a:ext cx="6864412" cy="845854"/>
          </a:xfrm>
        </p:spPr>
        <p:txBody>
          <a:bodyPr anchor="b">
            <a:normAutofit/>
          </a:bodyPr>
          <a:lstStyle/>
          <a:p>
            <a:r>
              <a:rPr lang="en-US" dirty="0"/>
              <a:t>Organizational Supports</a:t>
            </a:r>
          </a:p>
        </p:txBody>
      </p:sp>
      <p:pic>
        <p:nvPicPr>
          <p:cNvPr id="7" name="Picture 6" descr="Ohio College Tech Prep - Career Education, Education, Workforce">
            <a:extLst>
              <a:ext uri="{FF2B5EF4-FFF2-40B4-BE49-F238E27FC236}">
                <a16:creationId xmlns:a16="http://schemas.microsoft.com/office/drawing/2014/main" id="{B01078AB-04DF-C297-0F2B-5A1D18FCBC44}"/>
              </a:ext>
            </a:extLst>
          </p:cNvPr>
          <p:cNvPicPr>
            <a:picLocks noChangeAspect="1"/>
          </p:cNvPicPr>
          <p:nvPr/>
        </p:nvPicPr>
        <p:blipFill>
          <a:blip r:embed="rId2"/>
          <a:srcRect r="-372" b="23500"/>
          <a:stretch>
            <a:fillRect/>
          </a:stretch>
        </p:blipFill>
        <p:spPr>
          <a:xfrm>
            <a:off x="1851546" y="891930"/>
            <a:ext cx="2256431" cy="466378"/>
          </a:xfrm>
          <a:prstGeom prst="rect">
            <a:avLst/>
          </a:prstGeom>
        </p:spPr>
      </p:pic>
      <p:pic>
        <p:nvPicPr>
          <p:cNvPr id="6" name="Picture 5" descr="ODEW Survey - Shenandoah Elementary">
            <a:extLst>
              <a:ext uri="{FF2B5EF4-FFF2-40B4-BE49-F238E27FC236}">
                <a16:creationId xmlns:a16="http://schemas.microsoft.com/office/drawing/2014/main" id="{1CE48121-A662-12CD-B404-467101918292}"/>
              </a:ext>
            </a:extLst>
          </p:cNvPr>
          <p:cNvPicPr>
            <a:picLocks noChangeAspect="1"/>
          </p:cNvPicPr>
          <p:nvPr/>
        </p:nvPicPr>
        <p:blipFill>
          <a:blip r:embed="rId3"/>
          <a:stretch>
            <a:fillRect/>
          </a:stretch>
        </p:blipFill>
        <p:spPr>
          <a:xfrm>
            <a:off x="452374" y="3547640"/>
            <a:ext cx="2563781" cy="2563781"/>
          </a:xfrm>
          <a:prstGeom prst="rect">
            <a:avLst/>
          </a:prstGeom>
        </p:spPr>
      </p:pic>
      <p:pic>
        <p:nvPicPr>
          <p:cNvPr id="4" name="Picture 3" descr="Ohio ACTE - Apps on Google Play">
            <a:extLst>
              <a:ext uri="{FF2B5EF4-FFF2-40B4-BE49-F238E27FC236}">
                <a16:creationId xmlns:a16="http://schemas.microsoft.com/office/drawing/2014/main" id="{2E6DA30B-F813-3F85-57E6-E380F4E64EAF}"/>
              </a:ext>
            </a:extLst>
          </p:cNvPr>
          <p:cNvPicPr>
            <a:picLocks noChangeAspect="1"/>
          </p:cNvPicPr>
          <p:nvPr/>
        </p:nvPicPr>
        <p:blipFill>
          <a:blip r:embed="rId4"/>
          <a:stretch>
            <a:fillRect/>
          </a:stretch>
        </p:blipFill>
        <p:spPr>
          <a:xfrm>
            <a:off x="6148316" y="1468988"/>
            <a:ext cx="1746914" cy="1746914"/>
          </a:xfrm>
          <a:prstGeom prst="rect">
            <a:avLst/>
          </a:prstGeom>
        </p:spPr>
      </p:pic>
      <p:pic>
        <p:nvPicPr>
          <p:cNvPr id="5" name="Picture 4" descr="Association for Career and Technical Education - NCC-CTSOs">
            <a:extLst>
              <a:ext uri="{FF2B5EF4-FFF2-40B4-BE49-F238E27FC236}">
                <a16:creationId xmlns:a16="http://schemas.microsoft.com/office/drawing/2014/main" id="{77EF0BE6-2DD1-4B45-DB41-F7F7067041AD}"/>
              </a:ext>
            </a:extLst>
          </p:cNvPr>
          <p:cNvPicPr>
            <a:picLocks noChangeAspect="1"/>
          </p:cNvPicPr>
          <p:nvPr/>
        </p:nvPicPr>
        <p:blipFill>
          <a:blip r:embed="rId5"/>
          <a:stretch>
            <a:fillRect/>
          </a:stretch>
        </p:blipFill>
        <p:spPr>
          <a:xfrm>
            <a:off x="9594376" y="913578"/>
            <a:ext cx="2183642" cy="1282889"/>
          </a:xfrm>
          <a:prstGeom prst="rect">
            <a:avLst/>
          </a:prstGeom>
        </p:spPr>
      </p:pic>
    </p:spTree>
    <p:extLst>
      <p:ext uri="{BB962C8B-B14F-4D97-AF65-F5344CB8AC3E}">
        <p14:creationId xmlns:p14="http://schemas.microsoft.com/office/powerpoint/2010/main" val="23175929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AC0749D4-5D79-415F-A4FE-C04AA9FAF6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29" name="Rectangle 28">
            <a:extLst>
              <a:ext uri="{FF2B5EF4-FFF2-40B4-BE49-F238E27FC236}">
                <a16:creationId xmlns:a16="http://schemas.microsoft.com/office/drawing/2014/main" id="{E8C1EE2C-97A4-4801-8BC8-9D18F259BD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1999" cy="6858000"/>
          </a:xfrm>
          <a:prstGeom prst="rect">
            <a:avLst/>
          </a:pr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2" name="Title 1">
            <a:extLst>
              <a:ext uri="{FF2B5EF4-FFF2-40B4-BE49-F238E27FC236}">
                <a16:creationId xmlns:a16="http://schemas.microsoft.com/office/drawing/2014/main" id="{19FB18B2-FAF0-38B8-1AC6-AA464EB391F4}"/>
              </a:ext>
            </a:extLst>
          </p:cNvPr>
          <p:cNvSpPr>
            <a:spLocks noGrp="1"/>
          </p:cNvSpPr>
          <p:nvPr>
            <p:ph type="title"/>
          </p:nvPr>
        </p:nvSpPr>
        <p:spPr>
          <a:xfrm>
            <a:off x="1141884" y="4772484"/>
            <a:ext cx="6716578" cy="992068"/>
          </a:xfrm>
        </p:spPr>
        <p:txBody>
          <a:bodyPr vert="horz" lIns="91440" tIns="45720" rIns="91440" bIns="45720" rtlCol="0" anchor="b">
            <a:normAutofit/>
          </a:bodyPr>
          <a:lstStyle/>
          <a:p>
            <a:r>
              <a:rPr lang="en-US" sz="3600" kern="1200">
                <a:solidFill>
                  <a:schemeClr val="tx1"/>
                </a:solidFill>
                <a:latin typeface="+mj-lt"/>
                <a:ea typeface="+mj-ea"/>
                <a:cs typeface="+mj-cs"/>
              </a:rPr>
              <a:t>About GCCC</a:t>
            </a:r>
          </a:p>
        </p:txBody>
      </p:sp>
      <p:sp>
        <p:nvSpPr>
          <p:cNvPr id="9" name="Content Placeholder 8">
            <a:extLst>
              <a:ext uri="{FF2B5EF4-FFF2-40B4-BE49-F238E27FC236}">
                <a16:creationId xmlns:a16="http://schemas.microsoft.com/office/drawing/2014/main" id="{75C2AF8C-64A7-63C2-E3DA-16D1062EC59C}"/>
              </a:ext>
            </a:extLst>
          </p:cNvPr>
          <p:cNvSpPr>
            <a:spLocks noGrp="1"/>
          </p:cNvSpPr>
          <p:nvPr>
            <p:ph idx="1"/>
          </p:nvPr>
        </p:nvSpPr>
        <p:spPr>
          <a:xfrm>
            <a:off x="1141883" y="5819669"/>
            <a:ext cx="9405991" cy="460047"/>
          </a:xfrm>
        </p:spPr>
        <p:txBody>
          <a:bodyPr vert="horz" lIns="91440" tIns="45720" rIns="91440" bIns="45720" rtlCol="0">
            <a:normAutofit/>
          </a:bodyPr>
          <a:lstStyle/>
          <a:p>
            <a:pPr marL="0" indent="0">
              <a:buNone/>
            </a:pPr>
            <a:r>
              <a:rPr lang="en-US" sz="1600" kern="1200">
                <a:solidFill>
                  <a:schemeClr val="tx1"/>
                </a:solidFill>
                <a:latin typeface="+mn-lt"/>
                <a:ea typeface="+mn-ea"/>
                <a:cs typeface="+mn-cs"/>
              </a:rPr>
              <a:t>Xenia Ohio</a:t>
            </a:r>
          </a:p>
        </p:txBody>
      </p:sp>
      <p:pic>
        <p:nvPicPr>
          <p:cNvPr id="4" name="Content Placeholder 3" descr="A blue and black logo&#10;&#10;AI-generated content may be incorrect.">
            <a:extLst>
              <a:ext uri="{FF2B5EF4-FFF2-40B4-BE49-F238E27FC236}">
                <a16:creationId xmlns:a16="http://schemas.microsoft.com/office/drawing/2014/main" id="{5132DF97-A2AC-6EB3-A5C2-C0C9A78433C3}"/>
              </a:ext>
            </a:extLst>
          </p:cNvPr>
          <p:cNvPicPr>
            <a:picLocks noChangeAspect="1"/>
          </p:cNvPicPr>
          <p:nvPr/>
        </p:nvPicPr>
        <p:blipFill>
          <a:blip r:embed="rId2"/>
          <a:srcRect t="14370" b="7255"/>
          <a:stretch>
            <a:fillRect/>
          </a:stretch>
        </p:blipFill>
        <p:spPr>
          <a:xfrm>
            <a:off x="20" y="10"/>
            <a:ext cx="6095980" cy="4777732"/>
          </a:xfrm>
          <a:custGeom>
            <a:avLst/>
            <a:gdLst/>
            <a:ahLst/>
            <a:cxnLst/>
            <a:rect l="l" t="t" r="r" b="b"/>
            <a:pathLst>
              <a:path w="6096000" h="4777742">
                <a:moveTo>
                  <a:pt x="0" y="0"/>
                </a:moveTo>
                <a:lnTo>
                  <a:pt x="6096000" y="0"/>
                </a:lnTo>
                <a:lnTo>
                  <a:pt x="6096000" y="4777742"/>
                </a:lnTo>
                <a:lnTo>
                  <a:pt x="6067110" y="4773054"/>
                </a:lnTo>
                <a:cubicBezTo>
                  <a:pt x="6055069" y="4772257"/>
                  <a:pt x="6042963" y="4771677"/>
                  <a:pt x="6032848" y="4768862"/>
                </a:cubicBezTo>
                <a:cubicBezTo>
                  <a:pt x="6012619" y="4763231"/>
                  <a:pt x="5991471" y="4755713"/>
                  <a:pt x="5975856" y="4751678"/>
                </a:cubicBezTo>
                <a:cubicBezTo>
                  <a:pt x="5946385" y="4744300"/>
                  <a:pt x="5938143" y="4740617"/>
                  <a:pt x="5920410" y="4737737"/>
                </a:cubicBezTo>
                <a:cubicBezTo>
                  <a:pt x="5902677" y="4734858"/>
                  <a:pt x="5883840" y="4734501"/>
                  <a:pt x="5869459" y="4734403"/>
                </a:cubicBezTo>
                <a:cubicBezTo>
                  <a:pt x="5855079" y="4734305"/>
                  <a:pt x="5852140" y="4739700"/>
                  <a:pt x="5834127" y="4737148"/>
                </a:cubicBezTo>
                <a:cubicBezTo>
                  <a:pt x="5804874" y="4729435"/>
                  <a:pt x="5807796" y="4730400"/>
                  <a:pt x="5771966" y="4726150"/>
                </a:cubicBezTo>
                <a:lnTo>
                  <a:pt x="5680977" y="4726617"/>
                </a:lnTo>
                <a:lnTo>
                  <a:pt x="5650557" y="4723904"/>
                </a:lnTo>
                <a:cubicBezTo>
                  <a:pt x="5639802" y="4725929"/>
                  <a:pt x="5629047" y="4714121"/>
                  <a:pt x="5618294" y="4716145"/>
                </a:cubicBezTo>
                <a:lnTo>
                  <a:pt x="5567600" y="4712292"/>
                </a:lnTo>
                <a:cubicBezTo>
                  <a:pt x="5545229" y="4692374"/>
                  <a:pt x="5541151" y="4712551"/>
                  <a:pt x="5525295" y="4707303"/>
                </a:cubicBezTo>
                <a:cubicBezTo>
                  <a:pt x="5498062" y="4696523"/>
                  <a:pt x="5492452" y="4697563"/>
                  <a:pt x="5464966" y="4687718"/>
                </a:cubicBezTo>
                <a:cubicBezTo>
                  <a:pt x="5451160" y="4689453"/>
                  <a:pt x="5436112" y="4684365"/>
                  <a:pt x="5422637" y="4687843"/>
                </a:cubicBezTo>
                <a:lnTo>
                  <a:pt x="5385596" y="4686184"/>
                </a:lnTo>
                <a:lnTo>
                  <a:pt x="5347417" y="4690023"/>
                </a:lnTo>
                <a:lnTo>
                  <a:pt x="5307450" y="4701204"/>
                </a:lnTo>
                <a:cubicBezTo>
                  <a:pt x="5291923" y="4701949"/>
                  <a:pt x="5275426" y="4700974"/>
                  <a:pt x="5257509" y="4697243"/>
                </a:cubicBezTo>
                <a:cubicBezTo>
                  <a:pt x="5243483" y="4695263"/>
                  <a:pt x="5222121" y="4694006"/>
                  <a:pt x="5205681" y="4681108"/>
                </a:cubicBezTo>
                <a:cubicBezTo>
                  <a:pt x="5189241" y="4668210"/>
                  <a:pt x="5066582" y="4656956"/>
                  <a:pt x="5066665" y="4656732"/>
                </a:cubicBezTo>
                <a:cubicBezTo>
                  <a:pt x="5036013" y="4653433"/>
                  <a:pt x="5037516" y="4666066"/>
                  <a:pt x="5021767" y="4667463"/>
                </a:cubicBezTo>
                <a:cubicBezTo>
                  <a:pt x="5006018" y="4668859"/>
                  <a:pt x="4997883" y="4663456"/>
                  <a:pt x="4972175" y="4665113"/>
                </a:cubicBezTo>
                <a:cubicBezTo>
                  <a:pt x="4946467" y="4666771"/>
                  <a:pt x="4895264" y="4676890"/>
                  <a:pt x="4867522" y="4677409"/>
                </a:cubicBezTo>
                <a:cubicBezTo>
                  <a:pt x="4847198" y="4677652"/>
                  <a:pt x="4846533" y="4665718"/>
                  <a:pt x="4824459" y="4661311"/>
                </a:cubicBezTo>
                <a:cubicBezTo>
                  <a:pt x="4802946" y="4676275"/>
                  <a:pt x="4746723" y="4640980"/>
                  <a:pt x="4748119" y="4662282"/>
                </a:cubicBezTo>
                <a:cubicBezTo>
                  <a:pt x="4696376" y="4649495"/>
                  <a:pt x="4704934" y="4651568"/>
                  <a:pt x="4681435" y="4656529"/>
                </a:cubicBezTo>
                <a:lnTo>
                  <a:pt x="4655641" y="4662947"/>
                </a:lnTo>
                <a:lnTo>
                  <a:pt x="4568774" y="4659157"/>
                </a:lnTo>
                <a:lnTo>
                  <a:pt x="4561567" y="4664296"/>
                </a:lnTo>
                <a:lnTo>
                  <a:pt x="4544039" y="4665425"/>
                </a:lnTo>
                <a:lnTo>
                  <a:pt x="4537547" y="4666124"/>
                </a:lnTo>
                <a:lnTo>
                  <a:pt x="4533521" y="4663656"/>
                </a:lnTo>
                <a:cubicBezTo>
                  <a:pt x="4531131" y="4662547"/>
                  <a:pt x="4529356" y="4662473"/>
                  <a:pt x="4528079" y="4664277"/>
                </a:cubicBezTo>
                <a:cubicBezTo>
                  <a:pt x="4527877" y="4665254"/>
                  <a:pt x="4527677" y="4666231"/>
                  <a:pt x="4527476" y="4667208"/>
                </a:cubicBezTo>
                <a:lnTo>
                  <a:pt x="4493203" y="4670897"/>
                </a:lnTo>
                <a:lnTo>
                  <a:pt x="4246811" y="4676399"/>
                </a:lnTo>
                <a:cubicBezTo>
                  <a:pt x="4137387" y="4710859"/>
                  <a:pt x="4001444" y="4666072"/>
                  <a:pt x="3880688" y="4677902"/>
                </a:cubicBezTo>
                <a:cubicBezTo>
                  <a:pt x="3854349" y="4668373"/>
                  <a:pt x="3867024" y="4694267"/>
                  <a:pt x="3804472" y="4706612"/>
                </a:cubicBezTo>
                <a:cubicBezTo>
                  <a:pt x="3769790" y="4699764"/>
                  <a:pt x="3709689" y="4672031"/>
                  <a:pt x="3671141" y="4669214"/>
                </a:cubicBezTo>
                <a:cubicBezTo>
                  <a:pt x="3634430" y="4661806"/>
                  <a:pt x="3632993" y="4657630"/>
                  <a:pt x="3609792" y="4651280"/>
                </a:cubicBezTo>
                <a:cubicBezTo>
                  <a:pt x="3586591" y="4644931"/>
                  <a:pt x="3596838" y="4646444"/>
                  <a:pt x="3550675" y="4644949"/>
                </a:cubicBezTo>
                <a:cubicBezTo>
                  <a:pt x="3513195" y="4640338"/>
                  <a:pt x="3398385" y="4630109"/>
                  <a:pt x="3362699" y="4629669"/>
                </a:cubicBezTo>
                <a:cubicBezTo>
                  <a:pt x="3327014" y="4629229"/>
                  <a:pt x="3350265" y="4628980"/>
                  <a:pt x="3317820" y="4628473"/>
                </a:cubicBezTo>
                <a:cubicBezTo>
                  <a:pt x="3291761" y="4635373"/>
                  <a:pt x="3220279" y="4625153"/>
                  <a:pt x="3202541" y="4611353"/>
                </a:cubicBezTo>
                <a:cubicBezTo>
                  <a:pt x="3176498" y="4608414"/>
                  <a:pt x="3173034" y="4597692"/>
                  <a:pt x="3165095" y="4593183"/>
                </a:cubicBezTo>
                <a:cubicBezTo>
                  <a:pt x="3157156" y="4588674"/>
                  <a:pt x="3151440" y="4597640"/>
                  <a:pt x="3142614" y="4593521"/>
                </a:cubicBezTo>
                <a:cubicBezTo>
                  <a:pt x="3133788" y="4589402"/>
                  <a:pt x="3119786" y="4585666"/>
                  <a:pt x="3108607" y="4586122"/>
                </a:cubicBezTo>
                <a:cubicBezTo>
                  <a:pt x="3097429" y="4586579"/>
                  <a:pt x="3083057" y="4584832"/>
                  <a:pt x="3060172" y="4583967"/>
                </a:cubicBezTo>
                <a:cubicBezTo>
                  <a:pt x="3037288" y="4583102"/>
                  <a:pt x="3008898" y="4580847"/>
                  <a:pt x="2971297" y="4580934"/>
                </a:cubicBezTo>
                <a:cubicBezTo>
                  <a:pt x="2936460" y="4577753"/>
                  <a:pt x="2952539" y="4581456"/>
                  <a:pt x="2872577" y="4576652"/>
                </a:cubicBezTo>
                <a:cubicBezTo>
                  <a:pt x="2845447" y="4572221"/>
                  <a:pt x="2833971" y="4557733"/>
                  <a:pt x="2814205" y="4559580"/>
                </a:cubicBezTo>
                <a:cubicBezTo>
                  <a:pt x="2790909" y="4543112"/>
                  <a:pt x="2768526" y="4546849"/>
                  <a:pt x="2754311" y="4545459"/>
                </a:cubicBezTo>
                <a:cubicBezTo>
                  <a:pt x="2740096" y="4544070"/>
                  <a:pt x="2737019" y="4543662"/>
                  <a:pt x="2723224" y="4546010"/>
                </a:cubicBezTo>
                <a:cubicBezTo>
                  <a:pt x="2709430" y="4548359"/>
                  <a:pt x="2687410" y="4554101"/>
                  <a:pt x="2672793" y="4554314"/>
                </a:cubicBezTo>
                <a:cubicBezTo>
                  <a:pt x="2658176" y="4554527"/>
                  <a:pt x="2649574" y="4546685"/>
                  <a:pt x="2635521" y="4547286"/>
                </a:cubicBezTo>
                <a:cubicBezTo>
                  <a:pt x="2621467" y="4547887"/>
                  <a:pt x="2621767" y="4560245"/>
                  <a:pt x="2588471" y="4557919"/>
                </a:cubicBezTo>
                <a:lnTo>
                  <a:pt x="2439275" y="4540387"/>
                </a:lnTo>
                <a:cubicBezTo>
                  <a:pt x="2417784" y="4540194"/>
                  <a:pt x="2396292" y="4546221"/>
                  <a:pt x="2374801" y="4546028"/>
                </a:cubicBezTo>
                <a:cubicBezTo>
                  <a:pt x="2331700" y="4546603"/>
                  <a:pt x="2372806" y="4559122"/>
                  <a:pt x="2318618" y="4550990"/>
                </a:cubicBezTo>
                <a:cubicBezTo>
                  <a:pt x="2264430" y="4533528"/>
                  <a:pt x="2150787" y="4518120"/>
                  <a:pt x="2084135" y="4520400"/>
                </a:cubicBezTo>
                <a:lnTo>
                  <a:pt x="2010848" y="4500404"/>
                </a:lnTo>
                <a:lnTo>
                  <a:pt x="1962215" y="4501400"/>
                </a:lnTo>
                <a:lnTo>
                  <a:pt x="1926990" y="4495570"/>
                </a:lnTo>
                <a:cubicBezTo>
                  <a:pt x="1909127" y="4479452"/>
                  <a:pt x="1902510" y="4484082"/>
                  <a:pt x="1884649" y="4474880"/>
                </a:cubicBezTo>
                <a:cubicBezTo>
                  <a:pt x="1864462" y="4463930"/>
                  <a:pt x="1869383" y="4485922"/>
                  <a:pt x="1816219" y="4470938"/>
                </a:cubicBezTo>
                <a:cubicBezTo>
                  <a:pt x="1786214" y="4478916"/>
                  <a:pt x="1794086" y="4458547"/>
                  <a:pt x="1768335" y="4471096"/>
                </a:cubicBezTo>
                <a:cubicBezTo>
                  <a:pt x="1756010" y="4466078"/>
                  <a:pt x="1737157" y="4463295"/>
                  <a:pt x="1725889" y="4456707"/>
                </a:cubicBezTo>
                <a:lnTo>
                  <a:pt x="1704987" y="4453275"/>
                </a:lnTo>
                <a:lnTo>
                  <a:pt x="1678857" y="4447221"/>
                </a:lnTo>
                <a:lnTo>
                  <a:pt x="1674568" y="4435925"/>
                </a:lnTo>
                <a:lnTo>
                  <a:pt x="1634075" y="4429269"/>
                </a:lnTo>
                <a:cubicBezTo>
                  <a:pt x="1619699" y="4424763"/>
                  <a:pt x="1607040" y="4412316"/>
                  <a:pt x="1588492" y="4411465"/>
                </a:cubicBezTo>
                <a:cubicBezTo>
                  <a:pt x="1548666" y="4404488"/>
                  <a:pt x="1441540" y="4396830"/>
                  <a:pt x="1402240" y="4391911"/>
                </a:cubicBezTo>
                <a:cubicBezTo>
                  <a:pt x="1362940" y="4386992"/>
                  <a:pt x="1383536" y="4385271"/>
                  <a:pt x="1352691" y="4381952"/>
                </a:cubicBezTo>
                <a:cubicBezTo>
                  <a:pt x="1322602" y="4385447"/>
                  <a:pt x="1230331" y="4373936"/>
                  <a:pt x="1213419" y="4358161"/>
                </a:cubicBezTo>
                <a:cubicBezTo>
                  <a:pt x="1194291" y="4352958"/>
                  <a:pt x="1171642" y="4355246"/>
                  <a:pt x="1163347" y="4339486"/>
                </a:cubicBezTo>
                <a:cubicBezTo>
                  <a:pt x="1149374" y="4320060"/>
                  <a:pt x="1081104" y="4339702"/>
                  <a:pt x="1091517" y="4319884"/>
                </a:cubicBezTo>
                <a:cubicBezTo>
                  <a:pt x="1067291" y="4326517"/>
                  <a:pt x="1046078" y="4319455"/>
                  <a:pt x="1025956" y="4309010"/>
                </a:cubicBezTo>
                <a:lnTo>
                  <a:pt x="1004286" y="4296626"/>
                </a:lnTo>
                <a:lnTo>
                  <a:pt x="983819" y="4298478"/>
                </a:lnTo>
                <a:cubicBezTo>
                  <a:pt x="974051" y="4282658"/>
                  <a:pt x="953984" y="4293628"/>
                  <a:pt x="939204" y="4282411"/>
                </a:cubicBezTo>
                <a:lnTo>
                  <a:pt x="915836" y="4272323"/>
                </a:lnTo>
                <a:lnTo>
                  <a:pt x="899731" y="4266965"/>
                </a:lnTo>
                <a:lnTo>
                  <a:pt x="893886" y="4264715"/>
                </a:lnTo>
                <a:lnTo>
                  <a:pt x="889021" y="4266066"/>
                </a:lnTo>
                <a:cubicBezTo>
                  <a:pt x="886286" y="4266531"/>
                  <a:pt x="884573" y="4266166"/>
                  <a:pt x="884135" y="4264147"/>
                </a:cubicBezTo>
                <a:lnTo>
                  <a:pt x="884818" y="4261224"/>
                </a:lnTo>
                <a:lnTo>
                  <a:pt x="820228" y="4266638"/>
                </a:lnTo>
                <a:lnTo>
                  <a:pt x="788402" y="4263209"/>
                </a:lnTo>
                <a:cubicBezTo>
                  <a:pt x="756573" y="4279518"/>
                  <a:pt x="718864" y="4245871"/>
                  <a:pt x="687574" y="4276905"/>
                </a:cubicBezTo>
                <a:lnTo>
                  <a:pt x="556383" y="4277125"/>
                </a:lnTo>
                <a:lnTo>
                  <a:pt x="497122" y="4273689"/>
                </a:lnTo>
                <a:cubicBezTo>
                  <a:pt x="484020" y="4279519"/>
                  <a:pt x="445941" y="4269992"/>
                  <a:pt x="454008" y="4273811"/>
                </a:cubicBezTo>
                <a:lnTo>
                  <a:pt x="394229" y="4278215"/>
                </a:lnTo>
                <a:lnTo>
                  <a:pt x="386356" y="4282251"/>
                </a:lnTo>
                <a:lnTo>
                  <a:pt x="383576" y="4284364"/>
                </a:lnTo>
                <a:lnTo>
                  <a:pt x="370039" y="4285533"/>
                </a:lnTo>
                <a:cubicBezTo>
                  <a:pt x="361618" y="4289428"/>
                  <a:pt x="359083" y="4297501"/>
                  <a:pt x="350141" y="4300911"/>
                </a:cubicBezTo>
                <a:cubicBezTo>
                  <a:pt x="345670" y="4302616"/>
                  <a:pt x="339596" y="4303155"/>
                  <a:pt x="330385" y="4301424"/>
                </a:cubicBezTo>
                <a:cubicBezTo>
                  <a:pt x="329804" y="4289693"/>
                  <a:pt x="314374" y="4293109"/>
                  <a:pt x="297835" y="4297065"/>
                </a:cubicBezTo>
                <a:lnTo>
                  <a:pt x="282816" y="4299894"/>
                </a:lnTo>
                <a:lnTo>
                  <a:pt x="281368" y="4300653"/>
                </a:lnTo>
                <a:lnTo>
                  <a:pt x="280684" y="4300295"/>
                </a:lnTo>
                <a:lnTo>
                  <a:pt x="273908" y="4301571"/>
                </a:lnTo>
                <a:cubicBezTo>
                  <a:pt x="266799" y="4301990"/>
                  <a:pt x="261129" y="4300718"/>
                  <a:pt x="258614" y="4295926"/>
                </a:cubicBezTo>
                <a:cubicBezTo>
                  <a:pt x="242516" y="4327823"/>
                  <a:pt x="214979" y="4309338"/>
                  <a:pt x="182068" y="4323284"/>
                </a:cubicBezTo>
                <a:cubicBezTo>
                  <a:pt x="157942" y="4332898"/>
                  <a:pt x="153812" y="4326151"/>
                  <a:pt x="128666" y="4331122"/>
                </a:cubicBezTo>
                <a:cubicBezTo>
                  <a:pt x="77925" y="4373333"/>
                  <a:pt x="87445" y="4341355"/>
                  <a:pt x="21563" y="4371972"/>
                </a:cubicBezTo>
                <a:lnTo>
                  <a:pt x="0" y="4383632"/>
                </a:lnTo>
                <a:close/>
              </a:path>
            </a:pathLst>
          </a:custGeom>
        </p:spPr>
      </p:pic>
      <p:pic>
        <p:nvPicPr>
          <p:cNvPr id="5" name="Picture 4" descr="A building with a lawn and grass&#10;&#10;AI-generated content may be incorrect.">
            <a:extLst>
              <a:ext uri="{FF2B5EF4-FFF2-40B4-BE49-F238E27FC236}">
                <a16:creationId xmlns:a16="http://schemas.microsoft.com/office/drawing/2014/main" id="{6859E207-BDB9-890F-451F-58B1AF5DCF63}"/>
              </a:ext>
            </a:extLst>
          </p:cNvPr>
          <p:cNvPicPr>
            <a:picLocks noChangeAspect="1"/>
          </p:cNvPicPr>
          <p:nvPr/>
        </p:nvPicPr>
        <p:blipFill>
          <a:blip r:embed="rId3"/>
          <a:srcRect l="5885" r="19530" b="1"/>
          <a:stretch>
            <a:fillRect/>
          </a:stretch>
        </p:blipFill>
        <p:spPr>
          <a:xfrm>
            <a:off x="6096000" y="15322"/>
            <a:ext cx="6096000" cy="5455552"/>
          </a:xfrm>
          <a:custGeom>
            <a:avLst/>
            <a:gdLst/>
            <a:ahLst/>
            <a:cxnLst/>
            <a:rect l="l" t="t" r="r" b="b"/>
            <a:pathLst>
              <a:path w="6096000" h="5455552">
                <a:moveTo>
                  <a:pt x="0" y="0"/>
                </a:moveTo>
                <a:lnTo>
                  <a:pt x="8632" y="2126"/>
                </a:lnTo>
                <a:cubicBezTo>
                  <a:pt x="71597" y="8644"/>
                  <a:pt x="52747" y="11892"/>
                  <a:pt x="102111" y="11566"/>
                </a:cubicBezTo>
                <a:cubicBezTo>
                  <a:pt x="107032" y="11203"/>
                  <a:pt x="116450" y="20386"/>
                  <a:pt x="135511" y="18109"/>
                </a:cubicBezTo>
                <a:cubicBezTo>
                  <a:pt x="165681" y="22040"/>
                  <a:pt x="149025" y="33094"/>
                  <a:pt x="187668" y="36734"/>
                </a:cubicBezTo>
                <a:cubicBezTo>
                  <a:pt x="184095" y="40156"/>
                  <a:pt x="221954" y="38461"/>
                  <a:pt x="225602" y="50611"/>
                </a:cubicBezTo>
                <a:cubicBezTo>
                  <a:pt x="242020" y="54481"/>
                  <a:pt x="267241" y="57744"/>
                  <a:pt x="286175" y="59952"/>
                </a:cubicBezTo>
                <a:cubicBezTo>
                  <a:pt x="314543" y="65902"/>
                  <a:pt x="328665" y="72319"/>
                  <a:pt x="332857" y="76558"/>
                </a:cubicBezTo>
                <a:cubicBezTo>
                  <a:pt x="361257" y="83289"/>
                  <a:pt x="358186" y="84500"/>
                  <a:pt x="395478" y="98782"/>
                </a:cubicBezTo>
                <a:cubicBezTo>
                  <a:pt x="417363" y="93652"/>
                  <a:pt x="436168" y="104748"/>
                  <a:pt x="445328" y="114882"/>
                </a:cubicBezTo>
                <a:cubicBezTo>
                  <a:pt x="470101" y="124482"/>
                  <a:pt x="523910" y="147405"/>
                  <a:pt x="559300" y="150440"/>
                </a:cubicBezTo>
                <a:cubicBezTo>
                  <a:pt x="613422" y="149710"/>
                  <a:pt x="598278" y="160982"/>
                  <a:pt x="622357" y="169552"/>
                </a:cubicBezTo>
                <a:cubicBezTo>
                  <a:pt x="641101" y="180205"/>
                  <a:pt x="638493" y="171007"/>
                  <a:pt x="658054" y="184474"/>
                </a:cubicBezTo>
                <a:lnTo>
                  <a:pt x="694284" y="200095"/>
                </a:lnTo>
                <a:lnTo>
                  <a:pt x="737979" y="224556"/>
                </a:lnTo>
                <a:lnTo>
                  <a:pt x="747981" y="231280"/>
                </a:lnTo>
                <a:cubicBezTo>
                  <a:pt x="753111" y="231304"/>
                  <a:pt x="756366" y="231723"/>
                  <a:pt x="758445" y="232460"/>
                </a:cubicBezTo>
                <a:cubicBezTo>
                  <a:pt x="758496" y="232559"/>
                  <a:pt x="758549" y="232658"/>
                  <a:pt x="758600" y="232757"/>
                </a:cubicBezTo>
                <a:lnTo>
                  <a:pt x="773364" y="235718"/>
                </a:lnTo>
                <a:cubicBezTo>
                  <a:pt x="790479" y="236082"/>
                  <a:pt x="824818" y="262048"/>
                  <a:pt x="841072" y="261356"/>
                </a:cubicBezTo>
                <a:cubicBezTo>
                  <a:pt x="848247" y="277811"/>
                  <a:pt x="845053" y="250444"/>
                  <a:pt x="872404" y="265382"/>
                </a:cubicBezTo>
                <a:cubicBezTo>
                  <a:pt x="884596" y="267374"/>
                  <a:pt x="889722" y="269394"/>
                  <a:pt x="899938" y="270925"/>
                </a:cubicBezTo>
                <a:cubicBezTo>
                  <a:pt x="900079" y="271345"/>
                  <a:pt x="933560" y="274145"/>
                  <a:pt x="933701" y="274565"/>
                </a:cubicBezTo>
                <a:lnTo>
                  <a:pt x="958104" y="278658"/>
                </a:lnTo>
                <a:lnTo>
                  <a:pt x="963678" y="280729"/>
                </a:lnTo>
                <a:lnTo>
                  <a:pt x="996167" y="277529"/>
                </a:lnTo>
                <a:lnTo>
                  <a:pt x="1012387" y="277350"/>
                </a:lnTo>
                <a:lnTo>
                  <a:pt x="1018139" y="274257"/>
                </a:lnTo>
                <a:cubicBezTo>
                  <a:pt x="1023705" y="272608"/>
                  <a:pt x="1030840" y="272419"/>
                  <a:pt x="1041488" y="275538"/>
                </a:cubicBezTo>
                <a:lnTo>
                  <a:pt x="1043729" y="276831"/>
                </a:lnTo>
                <a:lnTo>
                  <a:pt x="1076532" y="271239"/>
                </a:lnTo>
                <a:cubicBezTo>
                  <a:pt x="1083544" y="269462"/>
                  <a:pt x="1111552" y="278849"/>
                  <a:pt x="1117458" y="275294"/>
                </a:cubicBezTo>
                <a:cubicBezTo>
                  <a:pt x="1173364" y="280135"/>
                  <a:pt x="1207569" y="263603"/>
                  <a:pt x="1275827" y="275029"/>
                </a:cubicBezTo>
                <a:cubicBezTo>
                  <a:pt x="1321519" y="279616"/>
                  <a:pt x="1347196" y="279519"/>
                  <a:pt x="1376683" y="283128"/>
                </a:cubicBezTo>
                <a:cubicBezTo>
                  <a:pt x="1406170" y="286737"/>
                  <a:pt x="1433752" y="293140"/>
                  <a:pt x="1452749" y="296685"/>
                </a:cubicBezTo>
                <a:cubicBezTo>
                  <a:pt x="1471746" y="300230"/>
                  <a:pt x="1466619" y="301895"/>
                  <a:pt x="1490664" y="304401"/>
                </a:cubicBezTo>
                <a:cubicBezTo>
                  <a:pt x="1514709" y="306907"/>
                  <a:pt x="1573675" y="305000"/>
                  <a:pt x="1597021" y="311721"/>
                </a:cubicBezTo>
                <a:cubicBezTo>
                  <a:pt x="1622238" y="311037"/>
                  <a:pt x="1625537" y="322069"/>
                  <a:pt x="1639314" y="320753"/>
                </a:cubicBezTo>
                <a:cubicBezTo>
                  <a:pt x="1710549" y="337224"/>
                  <a:pt x="1769892" y="334296"/>
                  <a:pt x="1856583" y="331628"/>
                </a:cubicBezTo>
                <a:cubicBezTo>
                  <a:pt x="1913730" y="336509"/>
                  <a:pt x="1912698" y="339285"/>
                  <a:pt x="1937745" y="342098"/>
                </a:cubicBezTo>
                <a:cubicBezTo>
                  <a:pt x="1945390" y="344925"/>
                  <a:pt x="1949181" y="335092"/>
                  <a:pt x="1956068" y="338984"/>
                </a:cubicBezTo>
                <a:lnTo>
                  <a:pt x="1991434" y="344183"/>
                </a:lnTo>
                <a:lnTo>
                  <a:pt x="2017399" y="354323"/>
                </a:lnTo>
                <a:lnTo>
                  <a:pt x="2041804" y="360756"/>
                </a:lnTo>
                <a:lnTo>
                  <a:pt x="2071138" y="363487"/>
                </a:lnTo>
                <a:cubicBezTo>
                  <a:pt x="2080124" y="365903"/>
                  <a:pt x="2080713" y="373697"/>
                  <a:pt x="2092557" y="373570"/>
                </a:cubicBezTo>
                <a:cubicBezTo>
                  <a:pt x="2128517" y="378742"/>
                  <a:pt x="2193287" y="383225"/>
                  <a:pt x="2242182" y="388922"/>
                </a:cubicBezTo>
                <a:cubicBezTo>
                  <a:pt x="2266404" y="385527"/>
                  <a:pt x="2301142" y="392029"/>
                  <a:pt x="2311187" y="401718"/>
                </a:cubicBezTo>
                <a:cubicBezTo>
                  <a:pt x="2323182" y="404413"/>
                  <a:pt x="2352098" y="404462"/>
                  <a:pt x="2363765" y="402554"/>
                </a:cubicBezTo>
                <a:cubicBezTo>
                  <a:pt x="2374121" y="402833"/>
                  <a:pt x="2375999" y="406521"/>
                  <a:pt x="2389759" y="407955"/>
                </a:cubicBezTo>
                <a:cubicBezTo>
                  <a:pt x="2404778" y="411334"/>
                  <a:pt x="2437354" y="427346"/>
                  <a:pt x="2451497" y="432353"/>
                </a:cubicBezTo>
                <a:cubicBezTo>
                  <a:pt x="2465640" y="437360"/>
                  <a:pt x="2451256" y="432175"/>
                  <a:pt x="2474615" y="437995"/>
                </a:cubicBezTo>
                <a:cubicBezTo>
                  <a:pt x="2482949" y="439979"/>
                  <a:pt x="2481204" y="447714"/>
                  <a:pt x="2499122" y="451403"/>
                </a:cubicBezTo>
                <a:cubicBezTo>
                  <a:pt x="2517041" y="455093"/>
                  <a:pt x="2557176" y="459358"/>
                  <a:pt x="2582126" y="460132"/>
                </a:cubicBezTo>
                <a:cubicBezTo>
                  <a:pt x="2610000" y="447613"/>
                  <a:pt x="2600233" y="464657"/>
                  <a:pt x="2651203" y="448902"/>
                </a:cubicBezTo>
                <a:cubicBezTo>
                  <a:pt x="2652514" y="450917"/>
                  <a:pt x="2673343" y="450050"/>
                  <a:pt x="2694692" y="451398"/>
                </a:cubicBezTo>
                <a:cubicBezTo>
                  <a:pt x="2716041" y="452746"/>
                  <a:pt x="2761501" y="464041"/>
                  <a:pt x="2779298" y="456988"/>
                </a:cubicBezTo>
                <a:lnTo>
                  <a:pt x="2936306" y="456249"/>
                </a:lnTo>
                <a:lnTo>
                  <a:pt x="3026435" y="468085"/>
                </a:lnTo>
                <a:cubicBezTo>
                  <a:pt x="3057775" y="469980"/>
                  <a:pt x="3063039" y="478620"/>
                  <a:pt x="3083171" y="475230"/>
                </a:cubicBezTo>
                <a:cubicBezTo>
                  <a:pt x="3117108" y="477415"/>
                  <a:pt x="3095622" y="493457"/>
                  <a:pt x="3134778" y="480540"/>
                </a:cubicBezTo>
                <a:cubicBezTo>
                  <a:pt x="3124076" y="494276"/>
                  <a:pt x="3153178" y="476814"/>
                  <a:pt x="3173314" y="487873"/>
                </a:cubicBezTo>
                <a:cubicBezTo>
                  <a:pt x="3201556" y="479719"/>
                  <a:pt x="3230591" y="489990"/>
                  <a:pt x="3247734" y="491186"/>
                </a:cubicBezTo>
                <a:cubicBezTo>
                  <a:pt x="3264877" y="492382"/>
                  <a:pt x="3251612" y="496143"/>
                  <a:pt x="3276172" y="495050"/>
                </a:cubicBezTo>
                <a:lnTo>
                  <a:pt x="3310856" y="500586"/>
                </a:lnTo>
                <a:cubicBezTo>
                  <a:pt x="3309045" y="496015"/>
                  <a:pt x="3314063" y="497362"/>
                  <a:pt x="3327824" y="498077"/>
                </a:cubicBezTo>
                <a:lnTo>
                  <a:pt x="3364782" y="494003"/>
                </a:lnTo>
                <a:lnTo>
                  <a:pt x="3390144" y="498112"/>
                </a:lnTo>
                <a:cubicBezTo>
                  <a:pt x="3393544" y="497973"/>
                  <a:pt x="3417720" y="493499"/>
                  <a:pt x="3417235" y="489988"/>
                </a:cubicBezTo>
                <a:cubicBezTo>
                  <a:pt x="3443685" y="504716"/>
                  <a:pt x="3446332" y="495464"/>
                  <a:pt x="3473455" y="491710"/>
                </a:cubicBezTo>
                <a:cubicBezTo>
                  <a:pt x="3496710" y="493093"/>
                  <a:pt x="3476665" y="493558"/>
                  <a:pt x="3532861" y="495298"/>
                </a:cubicBezTo>
                <a:cubicBezTo>
                  <a:pt x="3554737" y="511467"/>
                  <a:pt x="3539011" y="483579"/>
                  <a:pt x="3581951" y="506221"/>
                </a:cubicBezTo>
                <a:cubicBezTo>
                  <a:pt x="3584053" y="504456"/>
                  <a:pt x="3610563" y="506075"/>
                  <a:pt x="3624438" y="507850"/>
                </a:cubicBezTo>
                <a:cubicBezTo>
                  <a:pt x="3638313" y="509625"/>
                  <a:pt x="3650849" y="507462"/>
                  <a:pt x="3665204" y="516874"/>
                </a:cubicBezTo>
                <a:cubicBezTo>
                  <a:pt x="3675692" y="519769"/>
                  <a:pt x="3656949" y="515532"/>
                  <a:pt x="3689747" y="520459"/>
                </a:cubicBezTo>
                <a:cubicBezTo>
                  <a:pt x="3722545" y="525386"/>
                  <a:pt x="3829449" y="542068"/>
                  <a:pt x="3861993" y="546434"/>
                </a:cubicBezTo>
                <a:cubicBezTo>
                  <a:pt x="3894537" y="550800"/>
                  <a:pt x="3871648" y="553364"/>
                  <a:pt x="3885009" y="553797"/>
                </a:cubicBezTo>
                <a:cubicBezTo>
                  <a:pt x="3898370" y="554230"/>
                  <a:pt x="3927139" y="547164"/>
                  <a:pt x="3942159" y="549034"/>
                </a:cubicBezTo>
                <a:cubicBezTo>
                  <a:pt x="3961015" y="550940"/>
                  <a:pt x="3963811" y="558241"/>
                  <a:pt x="3975129" y="557872"/>
                </a:cubicBezTo>
                <a:cubicBezTo>
                  <a:pt x="3985593" y="547655"/>
                  <a:pt x="3996704" y="547768"/>
                  <a:pt x="4014830" y="553964"/>
                </a:cubicBezTo>
                <a:cubicBezTo>
                  <a:pt x="4048643" y="556748"/>
                  <a:pt x="4048670" y="546238"/>
                  <a:pt x="4081323" y="547753"/>
                </a:cubicBezTo>
                <a:cubicBezTo>
                  <a:pt x="4095652" y="547174"/>
                  <a:pt x="4103318" y="550468"/>
                  <a:pt x="4127224" y="547194"/>
                </a:cubicBezTo>
                <a:cubicBezTo>
                  <a:pt x="4144245" y="547892"/>
                  <a:pt x="4178444" y="549648"/>
                  <a:pt x="4201489" y="539366"/>
                </a:cubicBezTo>
                <a:cubicBezTo>
                  <a:pt x="4226484" y="538057"/>
                  <a:pt x="4208332" y="537593"/>
                  <a:pt x="4235612" y="540183"/>
                </a:cubicBezTo>
                <a:cubicBezTo>
                  <a:pt x="4268938" y="540701"/>
                  <a:pt x="4282810" y="534470"/>
                  <a:pt x="4302068" y="535952"/>
                </a:cubicBezTo>
                <a:cubicBezTo>
                  <a:pt x="4314608" y="531697"/>
                  <a:pt x="4300406" y="536768"/>
                  <a:pt x="4348604" y="531427"/>
                </a:cubicBezTo>
                <a:cubicBezTo>
                  <a:pt x="4367706" y="540886"/>
                  <a:pt x="4384046" y="527950"/>
                  <a:pt x="4400391" y="529988"/>
                </a:cubicBezTo>
                <a:cubicBezTo>
                  <a:pt x="4426313" y="528954"/>
                  <a:pt x="4490025" y="529067"/>
                  <a:pt x="4513659" y="527603"/>
                </a:cubicBezTo>
                <a:cubicBezTo>
                  <a:pt x="4537293" y="526139"/>
                  <a:pt x="4512137" y="523958"/>
                  <a:pt x="4542198" y="521206"/>
                </a:cubicBezTo>
                <a:cubicBezTo>
                  <a:pt x="4597566" y="533455"/>
                  <a:pt x="4628464" y="511410"/>
                  <a:pt x="4684502" y="508712"/>
                </a:cubicBezTo>
                <a:cubicBezTo>
                  <a:pt x="4718519" y="491640"/>
                  <a:pt x="4742626" y="509374"/>
                  <a:pt x="4779821" y="496309"/>
                </a:cubicBezTo>
                <a:cubicBezTo>
                  <a:pt x="4804992" y="492314"/>
                  <a:pt x="4808648" y="496131"/>
                  <a:pt x="4822825" y="494266"/>
                </a:cubicBezTo>
                <a:cubicBezTo>
                  <a:pt x="4837002" y="492401"/>
                  <a:pt x="4852992" y="487905"/>
                  <a:pt x="4864884" y="485118"/>
                </a:cubicBezTo>
                <a:cubicBezTo>
                  <a:pt x="4871249" y="488756"/>
                  <a:pt x="4920720" y="482346"/>
                  <a:pt x="4919578" y="477542"/>
                </a:cubicBezTo>
                <a:cubicBezTo>
                  <a:pt x="4926928" y="479188"/>
                  <a:pt x="4947247" y="485560"/>
                  <a:pt x="4949541" y="477954"/>
                </a:cubicBezTo>
                <a:cubicBezTo>
                  <a:pt x="4987069" y="477873"/>
                  <a:pt x="5008152" y="476806"/>
                  <a:pt x="5040980" y="486944"/>
                </a:cubicBezTo>
                <a:cubicBezTo>
                  <a:pt x="5064311" y="490721"/>
                  <a:pt x="5048016" y="488694"/>
                  <a:pt x="5062537" y="491091"/>
                </a:cubicBezTo>
                <a:cubicBezTo>
                  <a:pt x="5077058" y="493488"/>
                  <a:pt x="5101248" y="489194"/>
                  <a:pt x="5124930" y="488624"/>
                </a:cubicBezTo>
                <a:cubicBezTo>
                  <a:pt x="5148941" y="488756"/>
                  <a:pt x="5176916" y="492838"/>
                  <a:pt x="5194697" y="494266"/>
                </a:cubicBezTo>
                <a:cubicBezTo>
                  <a:pt x="5212478" y="495694"/>
                  <a:pt x="5216720" y="495351"/>
                  <a:pt x="5231615" y="497193"/>
                </a:cubicBezTo>
                <a:cubicBezTo>
                  <a:pt x="5256471" y="493743"/>
                  <a:pt x="5277358" y="495561"/>
                  <a:pt x="5295973" y="502936"/>
                </a:cubicBezTo>
                <a:cubicBezTo>
                  <a:pt x="5310458" y="504829"/>
                  <a:pt x="5303034" y="509138"/>
                  <a:pt x="5313760" y="510935"/>
                </a:cubicBezTo>
                <a:cubicBezTo>
                  <a:pt x="5324486" y="512732"/>
                  <a:pt x="5331325" y="504608"/>
                  <a:pt x="5360330" y="506574"/>
                </a:cubicBezTo>
                <a:cubicBezTo>
                  <a:pt x="5370649" y="506971"/>
                  <a:pt x="5370304" y="514592"/>
                  <a:pt x="5392341" y="515697"/>
                </a:cubicBezTo>
                <a:cubicBezTo>
                  <a:pt x="5414378" y="516802"/>
                  <a:pt x="5502983" y="521559"/>
                  <a:pt x="5535415" y="522731"/>
                </a:cubicBezTo>
                <a:cubicBezTo>
                  <a:pt x="5567847" y="523903"/>
                  <a:pt x="5554717" y="520685"/>
                  <a:pt x="5570264" y="520350"/>
                </a:cubicBezTo>
                <a:cubicBezTo>
                  <a:pt x="5585811" y="520015"/>
                  <a:pt x="5604204" y="511612"/>
                  <a:pt x="5628698" y="520719"/>
                </a:cubicBezTo>
                <a:cubicBezTo>
                  <a:pt x="5647020" y="515874"/>
                  <a:pt x="5647491" y="526993"/>
                  <a:pt x="5667807" y="529861"/>
                </a:cubicBezTo>
                <a:cubicBezTo>
                  <a:pt x="5679016" y="533919"/>
                  <a:pt x="5693046" y="532742"/>
                  <a:pt x="5702300" y="535541"/>
                </a:cubicBezTo>
                <a:cubicBezTo>
                  <a:pt x="5711554" y="538340"/>
                  <a:pt x="5718870" y="538844"/>
                  <a:pt x="5725716" y="541891"/>
                </a:cubicBezTo>
                <a:cubicBezTo>
                  <a:pt x="5732562" y="544938"/>
                  <a:pt x="5734643" y="551045"/>
                  <a:pt x="5743374" y="553823"/>
                </a:cubicBezTo>
                <a:cubicBezTo>
                  <a:pt x="5752105" y="556601"/>
                  <a:pt x="5765759" y="561491"/>
                  <a:pt x="5775722" y="563322"/>
                </a:cubicBezTo>
                <a:cubicBezTo>
                  <a:pt x="5785685" y="565153"/>
                  <a:pt x="5784173" y="562319"/>
                  <a:pt x="5803154" y="564811"/>
                </a:cubicBezTo>
                <a:cubicBezTo>
                  <a:pt x="5834093" y="570132"/>
                  <a:pt x="5861956" y="573987"/>
                  <a:pt x="5896753" y="573511"/>
                </a:cubicBezTo>
                <a:cubicBezTo>
                  <a:pt x="5903276" y="583218"/>
                  <a:pt x="5913663" y="578812"/>
                  <a:pt x="5927554" y="573675"/>
                </a:cubicBezTo>
                <a:cubicBezTo>
                  <a:pt x="5953522" y="580755"/>
                  <a:pt x="5997380" y="586240"/>
                  <a:pt x="6041802" y="602069"/>
                </a:cubicBezTo>
                <a:cubicBezTo>
                  <a:pt x="6060710" y="611771"/>
                  <a:pt x="6064884" y="613437"/>
                  <a:pt x="6078434" y="616108"/>
                </a:cubicBezTo>
                <a:lnTo>
                  <a:pt x="6096000" y="619448"/>
                </a:lnTo>
                <a:lnTo>
                  <a:pt x="6096000" y="5455552"/>
                </a:lnTo>
                <a:lnTo>
                  <a:pt x="6069997" y="5451207"/>
                </a:lnTo>
                <a:cubicBezTo>
                  <a:pt x="6053823" y="5455294"/>
                  <a:pt x="6044686" y="5455132"/>
                  <a:pt x="6037984" y="5444964"/>
                </a:cubicBezTo>
                <a:cubicBezTo>
                  <a:pt x="5998377" y="5442843"/>
                  <a:pt x="5957550" y="5417208"/>
                  <a:pt x="5932185" y="5429303"/>
                </a:cubicBezTo>
                <a:cubicBezTo>
                  <a:pt x="5933795" y="5407890"/>
                  <a:pt x="5919598" y="5415926"/>
                  <a:pt x="5891978" y="5410773"/>
                </a:cubicBezTo>
                <a:cubicBezTo>
                  <a:pt x="5872223" y="5404775"/>
                  <a:pt x="5829555" y="5392164"/>
                  <a:pt x="5813654" y="5386399"/>
                </a:cubicBezTo>
                <a:cubicBezTo>
                  <a:pt x="5797753" y="5380634"/>
                  <a:pt x="5785570" y="5384842"/>
                  <a:pt x="5769613" y="5379294"/>
                </a:cubicBezTo>
                <a:cubicBezTo>
                  <a:pt x="5776777" y="5360980"/>
                  <a:pt x="5681621" y="5373475"/>
                  <a:pt x="5717914" y="5360029"/>
                </a:cubicBezTo>
                <a:cubicBezTo>
                  <a:pt x="5690732" y="5349118"/>
                  <a:pt x="5700727" y="5354575"/>
                  <a:pt x="5686355" y="5359511"/>
                </a:cubicBezTo>
                <a:cubicBezTo>
                  <a:pt x="5652173" y="5354756"/>
                  <a:pt x="5649150" y="5353330"/>
                  <a:pt x="5609707" y="5357833"/>
                </a:cubicBezTo>
                <a:cubicBezTo>
                  <a:pt x="5592195" y="5357127"/>
                  <a:pt x="5585993" y="5354659"/>
                  <a:pt x="5570413" y="5353209"/>
                </a:cubicBezTo>
                <a:cubicBezTo>
                  <a:pt x="5554833" y="5351759"/>
                  <a:pt x="5546238" y="5352814"/>
                  <a:pt x="5516227" y="5349136"/>
                </a:cubicBezTo>
                <a:cubicBezTo>
                  <a:pt x="5492490" y="5344525"/>
                  <a:pt x="5475257" y="5345814"/>
                  <a:pt x="5456088" y="5343158"/>
                </a:cubicBezTo>
                <a:cubicBezTo>
                  <a:pt x="5436918" y="5340503"/>
                  <a:pt x="5425237" y="5336331"/>
                  <a:pt x="5401214" y="5333202"/>
                </a:cubicBezTo>
                <a:cubicBezTo>
                  <a:pt x="5380590" y="5324458"/>
                  <a:pt x="5302803" y="5345416"/>
                  <a:pt x="5287223" y="5319212"/>
                </a:cubicBezTo>
                <a:cubicBezTo>
                  <a:pt x="5230819" y="5324494"/>
                  <a:pt x="5214860" y="5313910"/>
                  <a:pt x="5168498" y="5309267"/>
                </a:cubicBezTo>
                <a:cubicBezTo>
                  <a:pt x="5123665" y="5304413"/>
                  <a:pt x="5118021" y="5307363"/>
                  <a:pt x="5071189" y="5294765"/>
                </a:cubicBezTo>
                <a:cubicBezTo>
                  <a:pt x="5034607" y="5282205"/>
                  <a:pt x="5014978" y="5278240"/>
                  <a:pt x="4972297" y="5275521"/>
                </a:cubicBezTo>
                <a:cubicBezTo>
                  <a:pt x="4969126" y="5282935"/>
                  <a:pt x="4918210" y="5268072"/>
                  <a:pt x="4909975" y="5265882"/>
                </a:cubicBezTo>
                <a:cubicBezTo>
                  <a:pt x="4910918" y="5270758"/>
                  <a:pt x="4884027" y="5272900"/>
                  <a:pt x="4877057" y="5268795"/>
                </a:cubicBezTo>
                <a:cubicBezTo>
                  <a:pt x="4815399" y="5271659"/>
                  <a:pt x="4796579" y="5290311"/>
                  <a:pt x="4750368" y="5280515"/>
                </a:cubicBezTo>
                <a:cubicBezTo>
                  <a:pt x="4714297" y="5280446"/>
                  <a:pt x="4716019" y="5289985"/>
                  <a:pt x="4664197" y="5289876"/>
                </a:cubicBezTo>
                <a:cubicBezTo>
                  <a:pt x="4642396" y="5294034"/>
                  <a:pt x="4648926" y="5285802"/>
                  <a:pt x="4621801" y="5286109"/>
                </a:cubicBezTo>
                <a:cubicBezTo>
                  <a:pt x="4587181" y="5303707"/>
                  <a:pt x="4550367" y="5292240"/>
                  <a:pt x="4501450" y="5291718"/>
                </a:cubicBezTo>
                <a:cubicBezTo>
                  <a:pt x="4441618" y="5290413"/>
                  <a:pt x="4391602" y="5297669"/>
                  <a:pt x="4339538" y="5289896"/>
                </a:cubicBezTo>
                <a:cubicBezTo>
                  <a:pt x="4320399" y="5296143"/>
                  <a:pt x="4294824" y="5304547"/>
                  <a:pt x="4273798" y="5293687"/>
                </a:cubicBezTo>
                <a:cubicBezTo>
                  <a:pt x="4218595" y="5295417"/>
                  <a:pt x="4225039" y="5300366"/>
                  <a:pt x="4204001" y="5294046"/>
                </a:cubicBezTo>
                <a:cubicBezTo>
                  <a:pt x="4162118" y="5296469"/>
                  <a:pt x="4168874" y="5290927"/>
                  <a:pt x="4131013" y="5287923"/>
                </a:cubicBezTo>
                <a:cubicBezTo>
                  <a:pt x="4100184" y="5283304"/>
                  <a:pt x="4115521" y="5283729"/>
                  <a:pt x="4087000" y="5283169"/>
                </a:cubicBezTo>
                <a:cubicBezTo>
                  <a:pt x="4060034" y="5291706"/>
                  <a:pt x="4041568" y="5281154"/>
                  <a:pt x="4034328" y="5278941"/>
                </a:cubicBezTo>
                <a:cubicBezTo>
                  <a:pt x="4008845" y="5280382"/>
                  <a:pt x="3971113" y="5268624"/>
                  <a:pt x="3975385" y="5283804"/>
                </a:cubicBezTo>
                <a:cubicBezTo>
                  <a:pt x="3939593" y="5263231"/>
                  <a:pt x="3940927" y="5284115"/>
                  <a:pt x="3902682" y="5278816"/>
                </a:cubicBezTo>
                <a:cubicBezTo>
                  <a:pt x="3882526" y="5271283"/>
                  <a:pt x="3856417" y="5267233"/>
                  <a:pt x="3843763" y="5276642"/>
                </a:cubicBezTo>
                <a:cubicBezTo>
                  <a:pt x="3766863" y="5264696"/>
                  <a:pt x="3813381" y="5261088"/>
                  <a:pt x="3734981" y="5248544"/>
                </a:cubicBezTo>
                <a:cubicBezTo>
                  <a:pt x="3694311" y="5242227"/>
                  <a:pt x="3633976" y="5239795"/>
                  <a:pt x="3602355" y="5230777"/>
                </a:cubicBezTo>
                <a:cubicBezTo>
                  <a:pt x="3570735" y="5221759"/>
                  <a:pt x="3562983" y="5225833"/>
                  <a:pt x="3538517" y="5219315"/>
                </a:cubicBezTo>
                <a:cubicBezTo>
                  <a:pt x="3514052" y="5212798"/>
                  <a:pt x="3482747" y="5212305"/>
                  <a:pt x="3463058" y="5208965"/>
                </a:cubicBezTo>
                <a:cubicBezTo>
                  <a:pt x="3443369" y="5205624"/>
                  <a:pt x="3422900" y="5197673"/>
                  <a:pt x="3420380" y="5199276"/>
                </a:cubicBezTo>
                <a:cubicBezTo>
                  <a:pt x="3380714" y="5190779"/>
                  <a:pt x="3368868" y="5201274"/>
                  <a:pt x="3345184" y="5183516"/>
                </a:cubicBezTo>
                <a:cubicBezTo>
                  <a:pt x="3324916" y="5181274"/>
                  <a:pt x="3320333" y="5179327"/>
                  <a:pt x="3298771" y="5178904"/>
                </a:cubicBezTo>
                <a:cubicBezTo>
                  <a:pt x="3277209" y="5178481"/>
                  <a:pt x="3245843" y="5181014"/>
                  <a:pt x="3215809" y="5180977"/>
                </a:cubicBezTo>
                <a:cubicBezTo>
                  <a:pt x="3184688" y="5182696"/>
                  <a:pt x="3183910" y="5199151"/>
                  <a:pt x="3154917" y="5182487"/>
                </a:cubicBezTo>
                <a:cubicBezTo>
                  <a:pt x="3155210" y="5186026"/>
                  <a:pt x="3140142" y="5187176"/>
                  <a:pt x="3136265" y="5187060"/>
                </a:cubicBezTo>
                <a:lnTo>
                  <a:pt x="3105563" y="5188768"/>
                </a:lnTo>
                <a:lnTo>
                  <a:pt x="3102974" y="5183180"/>
                </a:lnTo>
                <a:cubicBezTo>
                  <a:pt x="3091506" y="5180875"/>
                  <a:pt x="3071814" y="5186387"/>
                  <a:pt x="3060354" y="5187376"/>
                </a:cubicBezTo>
                <a:lnTo>
                  <a:pt x="3034213" y="5189113"/>
                </a:lnTo>
                <a:lnTo>
                  <a:pt x="3024272" y="5188328"/>
                </a:lnTo>
                <a:lnTo>
                  <a:pt x="3020033" y="5188388"/>
                </a:lnTo>
                <a:lnTo>
                  <a:pt x="3009083" y="5184215"/>
                </a:lnTo>
                <a:cubicBezTo>
                  <a:pt x="2998901" y="5183170"/>
                  <a:pt x="2991286" y="5176456"/>
                  <a:pt x="2985198" y="5175435"/>
                </a:cubicBezTo>
                <a:cubicBezTo>
                  <a:pt x="2979110" y="5174414"/>
                  <a:pt x="2977314" y="5182166"/>
                  <a:pt x="2972552" y="5178092"/>
                </a:cubicBezTo>
                <a:cubicBezTo>
                  <a:pt x="2978585" y="5175121"/>
                  <a:pt x="2969122" y="5172700"/>
                  <a:pt x="2964948" y="5170542"/>
                </a:cubicBezTo>
                <a:lnTo>
                  <a:pt x="2927081" y="5167883"/>
                </a:lnTo>
                <a:cubicBezTo>
                  <a:pt x="2881315" y="5170765"/>
                  <a:pt x="2897505" y="5157632"/>
                  <a:pt x="2883507" y="5165948"/>
                </a:cubicBezTo>
                <a:cubicBezTo>
                  <a:pt x="2848802" y="5172562"/>
                  <a:pt x="2841183" y="5172540"/>
                  <a:pt x="2828808" y="5171024"/>
                </a:cubicBezTo>
                <a:cubicBezTo>
                  <a:pt x="2789723" y="5176358"/>
                  <a:pt x="2783598" y="5178552"/>
                  <a:pt x="2733350" y="5182954"/>
                </a:cubicBezTo>
                <a:cubicBezTo>
                  <a:pt x="2705294" y="5195484"/>
                  <a:pt x="2697276" y="5196299"/>
                  <a:pt x="2676026" y="5201528"/>
                </a:cubicBezTo>
                <a:cubicBezTo>
                  <a:pt x="2649850" y="5209688"/>
                  <a:pt x="2656777" y="5215631"/>
                  <a:pt x="2624966" y="5219503"/>
                </a:cubicBezTo>
                <a:cubicBezTo>
                  <a:pt x="2608822" y="5223802"/>
                  <a:pt x="2596717" y="5233960"/>
                  <a:pt x="2586657" y="5237693"/>
                </a:cubicBezTo>
                <a:cubicBezTo>
                  <a:pt x="2576598" y="5241426"/>
                  <a:pt x="2572560" y="5240215"/>
                  <a:pt x="2555604" y="5242950"/>
                </a:cubicBezTo>
                <a:cubicBezTo>
                  <a:pt x="2544327" y="5242024"/>
                  <a:pt x="2507818" y="5241999"/>
                  <a:pt x="2501014" y="5243732"/>
                </a:cubicBezTo>
                <a:cubicBezTo>
                  <a:pt x="2481627" y="5253849"/>
                  <a:pt x="2464234" y="5242512"/>
                  <a:pt x="2430333" y="5242347"/>
                </a:cubicBezTo>
                <a:lnTo>
                  <a:pt x="2390297" y="5243718"/>
                </a:lnTo>
                <a:cubicBezTo>
                  <a:pt x="2383025" y="5238323"/>
                  <a:pt x="2325738" y="5236407"/>
                  <a:pt x="2321676" y="5229096"/>
                </a:cubicBezTo>
                <a:cubicBezTo>
                  <a:pt x="2300682" y="5221752"/>
                  <a:pt x="2300605" y="5203239"/>
                  <a:pt x="2268081" y="5196194"/>
                </a:cubicBezTo>
                <a:cubicBezTo>
                  <a:pt x="2250549" y="5189151"/>
                  <a:pt x="2260291" y="5206888"/>
                  <a:pt x="2216485" y="5186836"/>
                </a:cubicBezTo>
                <a:cubicBezTo>
                  <a:pt x="2176812" y="5155811"/>
                  <a:pt x="2009284" y="5133290"/>
                  <a:pt x="2001494" y="5079343"/>
                </a:cubicBezTo>
                <a:cubicBezTo>
                  <a:pt x="1930452" y="5061834"/>
                  <a:pt x="1990088" y="5062662"/>
                  <a:pt x="1894629" y="5047832"/>
                </a:cubicBezTo>
                <a:cubicBezTo>
                  <a:pt x="1809963" y="5035276"/>
                  <a:pt x="1557661" y="5013588"/>
                  <a:pt x="1500237" y="4994679"/>
                </a:cubicBezTo>
                <a:cubicBezTo>
                  <a:pt x="1422590" y="4985100"/>
                  <a:pt x="1462550" y="4984560"/>
                  <a:pt x="1428745" y="4990358"/>
                </a:cubicBezTo>
                <a:cubicBezTo>
                  <a:pt x="1371818" y="4998904"/>
                  <a:pt x="1368586" y="4981591"/>
                  <a:pt x="1331117" y="4982813"/>
                </a:cubicBezTo>
                <a:cubicBezTo>
                  <a:pt x="1275392" y="4969813"/>
                  <a:pt x="1167811" y="4963517"/>
                  <a:pt x="1094400" y="4949677"/>
                </a:cubicBezTo>
                <a:cubicBezTo>
                  <a:pt x="1032555" y="4940283"/>
                  <a:pt x="1020613" y="4926459"/>
                  <a:pt x="960420" y="4921601"/>
                </a:cubicBezTo>
                <a:cubicBezTo>
                  <a:pt x="926461" y="4913284"/>
                  <a:pt x="907935" y="4932317"/>
                  <a:pt x="890651" y="4899776"/>
                </a:cubicBezTo>
                <a:cubicBezTo>
                  <a:pt x="868932" y="4886871"/>
                  <a:pt x="828943" y="4886321"/>
                  <a:pt x="792786" y="4879490"/>
                </a:cubicBezTo>
                <a:cubicBezTo>
                  <a:pt x="774601" y="4877972"/>
                  <a:pt x="755410" y="4883422"/>
                  <a:pt x="715957" y="4873155"/>
                </a:cubicBezTo>
                <a:cubicBezTo>
                  <a:pt x="685950" y="4865367"/>
                  <a:pt x="651097" y="4849744"/>
                  <a:pt x="647625" y="4870967"/>
                </a:cubicBezTo>
                <a:cubicBezTo>
                  <a:pt x="617175" y="4843306"/>
                  <a:pt x="628363" y="4862320"/>
                  <a:pt x="588833" y="4861867"/>
                </a:cubicBezTo>
                <a:cubicBezTo>
                  <a:pt x="485840" y="4832827"/>
                  <a:pt x="444489" y="4851587"/>
                  <a:pt x="366769" y="4836563"/>
                </a:cubicBezTo>
                <a:cubicBezTo>
                  <a:pt x="347086" y="4818158"/>
                  <a:pt x="343282" y="4863016"/>
                  <a:pt x="293285" y="4819988"/>
                </a:cubicBezTo>
                <a:cubicBezTo>
                  <a:pt x="289569" y="4822136"/>
                  <a:pt x="267030" y="4799681"/>
                  <a:pt x="251789" y="4793960"/>
                </a:cubicBezTo>
                <a:cubicBezTo>
                  <a:pt x="236548" y="4788239"/>
                  <a:pt x="215411" y="4786648"/>
                  <a:pt x="201835" y="4785664"/>
                </a:cubicBezTo>
                <a:cubicBezTo>
                  <a:pt x="188258" y="4784679"/>
                  <a:pt x="186209" y="4788050"/>
                  <a:pt x="170329" y="4788050"/>
                </a:cubicBezTo>
                <a:cubicBezTo>
                  <a:pt x="154448" y="4788050"/>
                  <a:pt x="132774" y="4775085"/>
                  <a:pt x="103478" y="4797957"/>
                </a:cubicBezTo>
                <a:cubicBezTo>
                  <a:pt x="89551" y="4796239"/>
                  <a:pt x="97852" y="4783571"/>
                  <a:pt x="86767" y="4777747"/>
                </a:cubicBezTo>
                <a:cubicBezTo>
                  <a:pt x="81225" y="4774835"/>
                  <a:pt x="72809" y="4772046"/>
                  <a:pt x="63762" y="4769537"/>
                </a:cubicBezTo>
                <a:lnTo>
                  <a:pt x="37001" y="4763022"/>
                </a:lnTo>
                <a:lnTo>
                  <a:pt x="37482" y="4761597"/>
                </a:lnTo>
                <a:cubicBezTo>
                  <a:pt x="35277" y="4760236"/>
                  <a:pt x="31697" y="4759001"/>
                  <a:pt x="30394" y="4758901"/>
                </a:cubicBezTo>
                <a:cubicBezTo>
                  <a:pt x="29091" y="4758801"/>
                  <a:pt x="30066" y="4759837"/>
                  <a:pt x="36971" y="4763015"/>
                </a:cubicBezTo>
                <a:lnTo>
                  <a:pt x="37001" y="4763022"/>
                </a:lnTo>
                <a:lnTo>
                  <a:pt x="36315" y="4765055"/>
                </a:lnTo>
                <a:cubicBezTo>
                  <a:pt x="32115" y="4765663"/>
                  <a:pt x="22886" y="4765389"/>
                  <a:pt x="4975" y="4763227"/>
                </a:cubicBezTo>
                <a:lnTo>
                  <a:pt x="0" y="4762420"/>
                </a:lnTo>
                <a:close/>
              </a:path>
            </a:pathLst>
          </a:custGeom>
        </p:spPr>
      </p:pic>
    </p:spTree>
    <p:extLst>
      <p:ext uri="{BB962C8B-B14F-4D97-AF65-F5344CB8AC3E}">
        <p14:creationId xmlns:p14="http://schemas.microsoft.com/office/powerpoint/2010/main" val="236995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94FAE-80AD-CE4C-7107-4D6F6FF101C3}"/>
              </a:ext>
            </a:extLst>
          </p:cNvPr>
          <p:cNvSpPr>
            <a:spLocks noGrp="1"/>
          </p:cNvSpPr>
          <p:nvPr>
            <p:ph type="title"/>
          </p:nvPr>
        </p:nvSpPr>
        <p:spPr>
          <a:xfrm>
            <a:off x="838200" y="365125"/>
            <a:ext cx="10515600" cy="1325563"/>
          </a:xfrm>
        </p:spPr>
        <p:txBody>
          <a:bodyPr vert="horz" lIns="91440" tIns="45720" rIns="91440" bIns="45720" rtlCol="0" anchor="ctr">
            <a:normAutofit/>
          </a:bodyPr>
          <a:lstStyle/>
          <a:p>
            <a:r>
              <a:rPr lang="en-US" dirty="0">
                <a:cs typeface="Calibri Light"/>
              </a:rPr>
              <a:t>Serving over 4,000 students in Greene County</a:t>
            </a:r>
          </a:p>
        </p:txBody>
      </p:sp>
      <p:graphicFrame>
        <p:nvGraphicFramePr>
          <p:cNvPr id="13" name="Content Placeholder 12">
            <a:extLst>
              <a:ext uri="{FF2B5EF4-FFF2-40B4-BE49-F238E27FC236}">
                <a16:creationId xmlns:a16="http://schemas.microsoft.com/office/drawing/2014/main" id="{44A430E8-4E14-4A0F-A9DE-01472088BC23}"/>
              </a:ext>
            </a:extLst>
          </p:cNvPr>
          <p:cNvGraphicFramePr>
            <a:graphicFrameLocks noGrp="1"/>
          </p:cNvGraphicFramePr>
          <p:nvPr>
            <p:ph idx="4294967295"/>
          </p:nvPr>
        </p:nvGraphicFramePr>
        <p:xfrm>
          <a:off x="838200" y="1518846"/>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06" name="Rectangle: Rounded Corners 1605">
            <a:extLst>
              <a:ext uri="{FF2B5EF4-FFF2-40B4-BE49-F238E27FC236}">
                <a16:creationId xmlns:a16="http://schemas.microsoft.com/office/drawing/2014/main" id="{AE2EE80F-7A0D-381E-27CB-59C14156E909}"/>
              </a:ext>
            </a:extLst>
          </p:cNvPr>
          <p:cNvSpPr/>
          <p:nvPr/>
        </p:nvSpPr>
        <p:spPr>
          <a:xfrm>
            <a:off x="841169" y="6006934"/>
            <a:ext cx="10509661" cy="51459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ptos" panose="020B0004020202020204"/>
                <a:ea typeface="+mn-ea"/>
                <a:cs typeface="Calibri"/>
              </a:rPr>
              <a:t>Career Exploration Resources  for all Kindergarten, 2nd Grade, and 4th Grade Students in the County (~5000 students)</a:t>
            </a:r>
          </a:p>
        </p:txBody>
      </p:sp>
    </p:spTree>
    <p:extLst>
      <p:ext uri="{BB962C8B-B14F-4D97-AF65-F5344CB8AC3E}">
        <p14:creationId xmlns:p14="http://schemas.microsoft.com/office/powerpoint/2010/main" val="2605435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320ED-373D-D3A7-B954-B1EDD002AE03}"/>
              </a:ext>
            </a:extLst>
          </p:cNvPr>
          <p:cNvSpPr>
            <a:spLocks noGrp="1"/>
          </p:cNvSpPr>
          <p:nvPr>
            <p:ph type="title"/>
          </p:nvPr>
        </p:nvSpPr>
        <p:spPr>
          <a:xfrm>
            <a:off x="5596501" y="489508"/>
            <a:ext cx="5754896" cy="1667569"/>
          </a:xfrm>
        </p:spPr>
        <p:txBody>
          <a:bodyPr anchor="b">
            <a:normAutofit/>
          </a:bodyPr>
          <a:lstStyle/>
          <a:p>
            <a:r>
              <a:rPr lang="en-US" sz="4000">
                <a:cs typeface="Calibri Light"/>
              </a:rPr>
              <a:t>Connected</a:t>
            </a:r>
            <a:endParaRPr lang="en-US" sz="4000"/>
          </a:p>
        </p:txBody>
      </p:sp>
      <p:pic>
        <p:nvPicPr>
          <p:cNvPr id="6" name="Graphic 5" descr="Connections outline">
            <a:extLst>
              <a:ext uri="{FF2B5EF4-FFF2-40B4-BE49-F238E27FC236}">
                <a16:creationId xmlns:a16="http://schemas.microsoft.com/office/drawing/2014/main" id="{FDE2D7C2-23CF-AF6F-2732-013BE5E801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8130" y="1275070"/>
            <a:ext cx="3876165" cy="3876165"/>
          </a:xfrm>
          <a:prstGeom prst="rect">
            <a:avLst/>
          </a:prstGeom>
        </p:spPr>
      </p:pic>
      <p:sp>
        <p:nvSpPr>
          <p:cNvPr id="3" name="Content Placeholder 2">
            <a:extLst>
              <a:ext uri="{FF2B5EF4-FFF2-40B4-BE49-F238E27FC236}">
                <a16:creationId xmlns:a16="http://schemas.microsoft.com/office/drawing/2014/main" id="{B9D5AE9A-6EBB-698F-0984-B477CF2547FB}"/>
              </a:ext>
            </a:extLst>
          </p:cNvPr>
          <p:cNvSpPr>
            <a:spLocks noGrp="1"/>
          </p:cNvSpPr>
          <p:nvPr>
            <p:ph idx="1"/>
          </p:nvPr>
        </p:nvSpPr>
        <p:spPr>
          <a:xfrm>
            <a:off x="5596502" y="2405894"/>
            <a:ext cx="5754896" cy="3909983"/>
          </a:xfrm>
        </p:spPr>
        <p:txBody>
          <a:bodyPr vert="horz" lIns="91440" tIns="45720" rIns="91440" bIns="45720" rtlCol="0" anchor="t">
            <a:normAutofit/>
          </a:bodyPr>
          <a:lstStyle/>
          <a:p>
            <a:r>
              <a:rPr lang="en-US" sz="1900" dirty="0">
                <a:cs typeface="Calibri" panose="020F0502020204030204"/>
              </a:rPr>
              <a:t>Over 400 Business and Industry Advisors</a:t>
            </a:r>
          </a:p>
          <a:p>
            <a:r>
              <a:rPr lang="en-US" sz="1900" dirty="0">
                <a:cs typeface="Calibri" panose="020F0502020204030204"/>
              </a:rPr>
              <a:t>8 Articulating Colleges</a:t>
            </a:r>
          </a:p>
          <a:p>
            <a:r>
              <a:rPr lang="en-US" sz="1900" dirty="0">
                <a:cs typeface="Calibri" panose="020F0502020204030204"/>
              </a:rPr>
              <a:t>9 Apprenticeship Pathways</a:t>
            </a:r>
          </a:p>
          <a:p>
            <a:r>
              <a:rPr lang="en-US" sz="1900" dirty="0">
                <a:cs typeface="Calibri" panose="020F0502020204030204"/>
              </a:rPr>
              <a:t>Community Connections and Service</a:t>
            </a:r>
          </a:p>
          <a:p>
            <a:r>
              <a:rPr lang="en-US" sz="1900" dirty="0">
                <a:cs typeface="Calibri" panose="020F0502020204030204"/>
              </a:rPr>
              <a:t>Global Vision, Local Impact</a:t>
            </a:r>
          </a:p>
          <a:p>
            <a:pPr lvl="1"/>
            <a:r>
              <a:rPr lang="en-US" sz="1900" dirty="0">
                <a:cs typeface="Calibri" panose="020F0502020204030204"/>
              </a:rPr>
              <a:t>Honda EV Battery Plant</a:t>
            </a:r>
          </a:p>
          <a:p>
            <a:pPr lvl="1"/>
            <a:r>
              <a:rPr lang="en-US" sz="1900" dirty="0">
                <a:cs typeface="Calibri" panose="020F0502020204030204"/>
              </a:rPr>
              <a:t>Material Science: AFRL &amp; UDRI</a:t>
            </a:r>
          </a:p>
          <a:p>
            <a:pPr lvl="1"/>
            <a:r>
              <a:rPr lang="en-US" sz="1900" dirty="0">
                <a:cs typeface="Calibri" panose="020F0502020204030204"/>
              </a:rPr>
              <a:t>Green Energy: Greenhouse project</a:t>
            </a:r>
          </a:p>
          <a:p>
            <a:pPr lvl="1"/>
            <a:r>
              <a:rPr lang="en-US" sz="1900" dirty="0">
                <a:cs typeface="Calibri" panose="020F0502020204030204"/>
              </a:rPr>
              <a:t>Ohio UAS Center</a:t>
            </a:r>
          </a:p>
        </p:txBody>
      </p:sp>
    </p:spTree>
    <p:extLst>
      <p:ext uri="{BB962C8B-B14F-4D97-AF65-F5344CB8AC3E}">
        <p14:creationId xmlns:p14="http://schemas.microsoft.com/office/powerpoint/2010/main" val="39744949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79E27D9-03C7-44E2-9FF8-15D0C8506A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2" name="Title 1">
            <a:extLst>
              <a:ext uri="{FF2B5EF4-FFF2-40B4-BE49-F238E27FC236}">
                <a16:creationId xmlns:a16="http://schemas.microsoft.com/office/drawing/2014/main" id="{F8A524D3-7B00-D136-CB3A-17280AEF6E5C}"/>
              </a:ext>
            </a:extLst>
          </p:cNvPr>
          <p:cNvSpPr>
            <a:spLocks noGrp="1"/>
          </p:cNvSpPr>
          <p:nvPr>
            <p:ph type="title"/>
          </p:nvPr>
        </p:nvSpPr>
        <p:spPr>
          <a:xfrm>
            <a:off x="1178416" y="962166"/>
            <a:ext cx="4290809" cy="4421876"/>
          </a:xfrm>
        </p:spPr>
        <p:txBody>
          <a:bodyPr anchor="t">
            <a:normAutofit/>
          </a:bodyPr>
          <a:lstStyle/>
          <a:p>
            <a:pPr algn="r"/>
            <a:r>
              <a:rPr lang="en-US" sz="4000"/>
              <a:t>Innovative and Accomplished</a:t>
            </a:r>
          </a:p>
        </p:txBody>
      </p:sp>
      <p:sp>
        <p:nvSpPr>
          <p:cNvPr id="3" name="Content Placeholder 2">
            <a:extLst>
              <a:ext uri="{FF2B5EF4-FFF2-40B4-BE49-F238E27FC236}">
                <a16:creationId xmlns:a16="http://schemas.microsoft.com/office/drawing/2014/main" id="{2A8BD972-C415-5C6A-CC18-94D822A5808D}"/>
              </a:ext>
            </a:extLst>
          </p:cNvPr>
          <p:cNvSpPr>
            <a:spLocks noGrp="1"/>
          </p:cNvSpPr>
          <p:nvPr>
            <p:ph idx="1"/>
          </p:nvPr>
        </p:nvSpPr>
        <p:spPr>
          <a:xfrm>
            <a:off x="6096000" y="870727"/>
            <a:ext cx="5876772" cy="5088614"/>
          </a:xfrm>
        </p:spPr>
        <p:txBody>
          <a:bodyPr vert="horz" lIns="91440" tIns="45720" rIns="91440" bIns="45720" rtlCol="0" anchor="t">
            <a:noAutofit/>
          </a:bodyPr>
          <a:lstStyle/>
          <a:p>
            <a:r>
              <a:rPr lang="en-US" sz="2000" dirty="0"/>
              <a:t>5 Star Rating</a:t>
            </a:r>
          </a:p>
          <a:p>
            <a:pPr lvl="1">
              <a:buFont typeface="Courier New" panose="020B0604020202020204" pitchFamily="34" charset="0"/>
              <a:buChar char="o"/>
            </a:pPr>
            <a:r>
              <a:rPr lang="en-US" sz="2000" dirty="0"/>
              <a:t>Career: Over 200 students completing internships/Work Based Learning, over 300 students earning 12 points in credentials</a:t>
            </a:r>
          </a:p>
          <a:p>
            <a:pPr lvl="1">
              <a:buFont typeface="Courier New" panose="020B0604020202020204" pitchFamily="34" charset="0"/>
              <a:buChar char="o"/>
            </a:pPr>
            <a:r>
              <a:rPr lang="en-US" sz="2000" dirty="0"/>
              <a:t>College: $3000 </a:t>
            </a:r>
            <a:r>
              <a:rPr lang="en-US" sz="2000" err="1"/>
              <a:t>TechPrep</a:t>
            </a:r>
            <a:r>
              <a:rPr lang="en-US" sz="2000" dirty="0"/>
              <a:t> Scholarship</a:t>
            </a:r>
          </a:p>
          <a:p>
            <a:pPr lvl="1">
              <a:buFont typeface="Courier New" panose="020B0604020202020204" pitchFamily="34" charset="0"/>
              <a:buChar char="o"/>
            </a:pPr>
            <a:r>
              <a:rPr lang="en-US" sz="2000" dirty="0"/>
              <a:t>Military: Purple Star School</a:t>
            </a:r>
          </a:p>
          <a:p>
            <a:r>
              <a:rPr lang="en-US" sz="2000" dirty="0"/>
              <a:t>Recruitment and Enrollment at an all-time high</a:t>
            </a:r>
          </a:p>
          <a:p>
            <a:r>
              <a:rPr lang="en-US" sz="2000" dirty="0"/>
              <a:t>Innovative</a:t>
            </a:r>
          </a:p>
          <a:p>
            <a:pPr lvl="1">
              <a:buFont typeface="Courier New" panose="020B0604020202020204" pitchFamily="34" charset="0"/>
              <a:buChar char="o"/>
            </a:pPr>
            <a:r>
              <a:rPr lang="en-US" sz="2000" dirty="0"/>
              <a:t>CTSO – Several National Competitors </a:t>
            </a:r>
          </a:p>
          <a:p>
            <a:pPr lvl="1">
              <a:buFont typeface="Courier New" panose="020B0604020202020204" pitchFamily="34" charset="0"/>
              <a:buChar char="o"/>
            </a:pPr>
            <a:r>
              <a:rPr lang="en-US" sz="2000" dirty="0"/>
              <a:t>Employability</a:t>
            </a:r>
          </a:p>
          <a:p>
            <a:pPr lvl="1">
              <a:buFont typeface="Courier New" panose="020B0604020202020204" pitchFamily="34" charset="0"/>
              <a:buChar char="o"/>
            </a:pPr>
            <a:r>
              <a:rPr lang="en-US" sz="2000" dirty="0"/>
              <a:t>Programming Options – healthy balanced plate</a:t>
            </a:r>
          </a:p>
          <a:p>
            <a:r>
              <a:rPr lang="en-US" sz="2000" dirty="0"/>
              <a:t>Challenges</a:t>
            </a:r>
          </a:p>
          <a:p>
            <a:pPr lvl="1">
              <a:buFont typeface="Courier New" panose="020B0604020202020204" pitchFamily="34" charset="0"/>
              <a:buChar char="o"/>
            </a:pPr>
            <a:r>
              <a:rPr lang="en-US" sz="2000" dirty="0"/>
              <a:t>Growth, Quality, and Sustainability</a:t>
            </a:r>
          </a:p>
        </p:txBody>
      </p:sp>
      <p:sp>
        <p:nvSpPr>
          <p:cNvPr id="10" name="Rectangle 9">
            <a:extLst>
              <a:ext uri="{FF2B5EF4-FFF2-40B4-BE49-F238E27FC236}">
                <a16:creationId xmlns:a16="http://schemas.microsoft.com/office/drawing/2014/main" id="{EEBF1590-3B36-48EE-A89D-3B6F3CB256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6400799"/>
            <a:ext cx="12192000" cy="456773"/>
          </a:xfrm>
          <a:prstGeom prst="rect">
            <a:avLst/>
          </a:prstGeom>
          <a:gradFill>
            <a:gsLst>
              <a:gs pos="0">
                <a:schemeClr val="accent1"/>
              </a:gs>
              <a:gs pos="78000">
                <a:srgbClr val="000000"/>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2" name="Rectangle 11">
            <a:extLst>
              <a:ext uri="{FF2B5EF4-FFF2-40B4-BE49-F238E27FC236}">
                <a16:creationId xmlns:a16="http://schemas.microsoft.com/office/drawing/2014/main" id="{AC8F6C8C-AB5A-4548-942D-E3FD40ACBC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800"/>
            <a:ext cx="8153398" cy="456772"/>
          </a:xfrm>
          <a:prstGeom prst="rect">
            <a:avLst/>
          </a:prstGeom>
          <a:gradFill>
            <a:gsLst>
              <a:gs pos="0">
                <a:srgbClr val="000000">
                  <a:alpha val="28000"/>
                </a:srgbClr>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5" name="Picture 4" descr="5 Star Vector Art, Icons, and Graphics for Free Download">
            <a:extLst>
              <a:ext uri="{FF2B5EF4-FFF2-40B4-BE49-F238E27FC236}">
                <a16:creationId xmlns:a16="http://schemas.microsoft.com/office/drawing/2014/main" id="{28777C9E-4748-7F70-BEA5-97F27CAB798B}"/>
              </a:ext>
            </a:extLst>
          </p:cNvPr>
          <p:cNvPicPr>
            <a:picLocks noChangeAspect="1"/>
          </p:cNvPicPr>
          <p:nvPr/>
        </p:nvPicPr>
        <p:blipFill>
          <a:blip r:embed="rId2"/>
          <a:srcRect r="1359" b="6427"/>
          <a:stretch>
            <a:fillRect/>
          </a:stretch>
        </p:blipFill>
        <p:spPr>
          <a:xfrm>
            <a:off x="616585" y="4812030"/>
            <a:ext cx="3684326" cy="1081428"/>
          </a:xfrm>
          <a:prstGeom prst="rect">
            <a:avLst/>
          </a:prstGeom>
        </p:spPr>
      </p:pic>
    </p:spTree>
    <p:extLst>
      <p:ext uri="{BB962C8B-B14F-4D97-AF65-F5344CB8AC3E}">
        <p14:creationId xmlns:p14="http://schemas.microsoft.com/office/powerpoint/2010/main" val="2782523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2">
            <a:extLst>
              <a:ext uri="{FF2B5EF4-FFF2-40B4-BE49-F238E27FC236}">
                <a16:creationId xmlns:a16="http://schemas.microsoft.com/office/drawing/2014/main" id="{B06C1182-A4E9-4EC7-9DF8-6D776C6D9BC3}"/>
              </a:ext>
            </a:extLst>
          </p:cNvPr>
          <p:cNvSpPr/>
          <p:nvPr/>
        </p:nvSpPr>
        <p:spPr>
          <a:xfrm flipH="1" flipV="1">
            <a:off x="0" y="0"/>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a:p>
        </p:txBody>
      </p:sp>
      <p:sp>
        <p:nvSpPr>
          <p:cNvPr id="3" name="Freeform 3"/>
          <p:cNvSpPr/>
          <p:nvPr/>
        </p:nvSpPr>
        <p:spPr>
          <a:xfrm rot="5400000">
            <a:off x="4107635" y="3599727"/>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4" name="Freeform 4"/>
          <p:cNvSpPr/>
          <p:nvPr/>
        </p:nvSpPr>
        <p:spPr>
          <a:xfrm>
            <a:off x="5965066" y="1287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grpSp>
        <p:nvGrpSpPr>
          <p:cNvPr id="8" name="Group 8"/>
          <p:cNvGrpSpPr/>
          <p:nvPr/>
        </p:nvGrpSpPr>
        <p:grpSpPr>
          <a:xfrm>
            <a:off x="6021371" y="1323515"/>
            <a:ext cx="327139" cy="327139"/>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57150" cap="sq">
              <a:solidFill>
                <a:srgbClr val="FFFFFF"/>
              </a:solidFill>
              <a:prstDash val="solid"/>
              <a:miter/>
            </a:ln>
          </p:spPr>
        </p:sp>
        <p:sp>
          <p:nvSpPr>
            <p:cNvPr id="10" name="TextBox 10"/>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2" name="TextBox 32"/>
          <p:cNvSpPr txBox="1"/>
          <p:nvPr/>
        </p:nvSpPr>
        <p:spPr>
          <a:xfrm>
            <a:off x="818480" y="1161718"/>
            <a:ext cx="4557413" cy="3539623"/>
          </a:xfrm>
          <a:prstGeom prst="rect">
            <a:avLst/>
          </a:prstGeom>
        </p:spPr>
        <p:txBody>
          <a:bodyPr wrap="square" lIns="0" tIns="0" rIns="0" bIns="0" rtlCol="0" anchor="ctr">
            <a:spAutoFit/>
          </a:bodyPr>
          <a:lstStyle/>
          <a:p>
            <a:pPr algn="l"/>
            <a:r>
              <a:rPr lang="en-US" sz="7667" b="1">
                <a:solidFill>
                  <a:srgbClr val="1D1A1B"/>
                </a:solidFill>
                <a:latin typeface="Public Sans Bold"/>
                <a:ea typeface="Public Sans Bold"/>
                <a:cs typeface="Public Sans Bold"/>
                <a:sym typeface="Public Sans Bold"/>
              </a:rPr>
              <a:t>Strategic Focus </a:t>
            </a:r>
            <a:br>
              <a:rPr lang="en-US" sz="7667" b="1">
                <a:solidFill>
                  <a:srgbClr val="1D1A1B"/>
                </a:solidFill>
                <a:latin typeface="Public Sans Bold"/>
                <a:ea typeface="Public Sans Bold"/>
                <a:cs typeface="Public Sans Bold"/>
                <a:sym typeface="Public Sans Bold"/>
              </a:rPr>
            </a:br>
            <a:r>
              <a:rPr lang="en-US" sz="7667" b="1">
                <a:solidFill>
                  <a:srgbClr val="1D1A1B"/>
                </a:solidFill>
                <a:latin typeface="Public Sans Bold"/>
                <a:ea typeface="Public Sans Bold"/>
                <a:cs typeface="Public Sans Bold"/>
                <a:sym typeface="Public Sans Bold"/>
              </a:rPr>
              <a:t>Areas</a:t>
            </a:r>
          </a:p>
        </p:txBody>
      </p:sp>
      <p:sp>
        <p:nvSpPr>
          <p:cNvPr id="36" name="TextBox 36"/>
          <p:cNvSpPr txBox="1"/>
          <p:nvPr/>
        </p:nvSpPr>
        <p:spPr>
          <a:xfrm>
            <a:off x="6763559" y="132410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Guided Pathways for Youth</a:t>
            </a:r>
          </a:p>
        </p:txBody>
      </p:sp>
      <p:sp>
        <p:nvSpPr>
          <p:cNvPr id="37" name="TextBox 37"/>
          <p:cNvSpPr txBox="1"/>
          <p:nvPr/>
        </p:nvSpPr>
        <p:spPr>
          <a:xfrm>
            <a:off x="6763559" y="2171694"/>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Reaching New Audiences</a:t>
            </a:r>
          </a:p>
        </p:txBody>
      </p:sp>
      <p:sp>
        <p:nvSpPr>
          <p:cNvPr id="39" name="TextBox 39"/>
          <p:cNvSpPr txBox="1"/>
          <p:nvPr/>
        </p:nvSpPr>
        <p:spPr>
          <a:xfrm>
            <a:off x="6763559" y="3078026"/>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Innovative Earn and Learn </a:t>
            </a:r>
          </a:p>
        </p:txBody>
      </p:sp>
      <p:sp>
        <p:nvSpPr>
          <p:cNvPr id="41" name="TextBox 41"/>
          <p:cNvSpPr txBox="1"/>
          <p:nvPr/>
        </p:nvSpPr>
        <p:spPr>
          <a:xfrm>
            <a:off x="6763560" y="3936766"/>
            <a:ext cx="3578809" cy="269817"/>
          </a:xfrm>
          <a:prstGeom prst="rect">
            <a:avLst/>
          </a:prstGeom>
        </p:spPr>
        <p:txBody>
          <a:bodyPr wrap="square"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Faculty and Educator Development </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7">
              <a:extLst>
                <a:ext uri="{96DAC541-7B7A-43D3-8B79-37D633B846F1}">
                  <asvg:svgBlip xmlns:asvg="http://schemas.microsoft.com/office/drawing/2016/SVG/main" r:embed="rId8"/>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5">
              <a:extLst>
                <a:ext uri="{96DAC541-7B7A-43D3-8B79-37D633B846F1}">
                  <asvg:svgBlip xmlns:asvg="http://schemas.microsoft.com/office/drawing/2016/SVG/main" r:embed="rId16"/>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7">
              <a:extLst>
                <a:ext uri="{96DAC541-7B7A-43D3-8B79-37D633B846F1}">
                  <asvg:svgBlip xmlns:asvg="http://schemas.microsoft.com/office/drawing/2016/SVG/main" r:embed="rId18"/>
                </a:ext>
              </a:extLst>
            </a:blip>
            <a:stretch>
              <a:fillRect/>
            </a:stretch>
          </a:blipFill>
        </p:spPr>
      </p:sp>
      <p:sp>
        <p:nvSpPr>
          <p:cNvPr id="48" name="TextBox 41">
            <a:extLst>
              <a:ext uri="{FF2B5EF4-FFF2-40B4-BE49-F238E27FC236}">
                <a16:creationId xmlns:a16="http://schemas.microsoft.com/office/drawing/2014/main" id="{1C771949-BD59-44F6-B06E-2B15D3A8B2E6}"/>
              </a:ext>
            </a:extLst>
          </p:cNvPr>
          <p:cNvSpPr txBox="1"/>
          <p:nvPr/>
        </p:nvSpPr>
        <p:spPr>
          <a:xfrm>
            <a:off x="6763560" y="4761540"/>
            <a:ext cx="3578809" cy="269817"/>
          </a:xfrm>
          <a:prstGeom prst="rect">
            <a:avLst/>
          </a:prstGeom>
        </p:spPr>
        <p:txBody>
          <a:bodyPr wrap="square"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Partnering with Industry </a:t>
            </a:r>
          </a:p>
        </p:txBody>
      </p:sp>
      <p:sp>
        <p:nvSpPr>
          <p:cNvPr id="53" name="Freeform 9">
            <a:extLst>
              <a:ext uri="{FF2B5EF4-FFF2-40B4-BE49-F238E27FC236}">
                <a16:creationId xmlns:a16="http://schemas.microsoft.com/office/drawing/2014/main" id="{4C0A4A29-7156-41E8-B87A-EC9D31518EF0}"/>
              </a:ext>
            </a:extLst>
          </p:cNvPr>
          <p:cNvSpPr/>
          <p:nvPr/>
        </p:nvSpPr>
        <p:spPr>
          <a:xfrm>
            <a:off x="6031531" y="2150788"/>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4" name="Freeform 9">
            <a:extLst>
              <a:ext uri="{FF2B5EF4-FFF2-40B4-BE49-F238E27FC236}">
                <a16:creationId xmlns:a16="http://schemas.microsoft.com/office/drawing/2014/main" id="{F083C1E7-24BB-4D13-B528-E20FA097614C}"/>
              </a:ext>
            </a:extLst>
          </p:cNvPr>
          <p:cNvSpPr/>
          <p:nvPr/>
        </p:nvSpPr>
        <p:spPr>
          <a:xfrm>
            <a:off x="6026451" y="3067279"/>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5" name="Freeform 9">
            <a:extLst>
              <a:ext uri="{FF2B5EF4-FFF2-40B4-BE49-F238E27FC236}">
                <a16:creationId xmlns:a16="http://schemas.microsoft.com/office/drawing/2014/main" id="{810640FC-759E-444F-A4D0-FB54E8016E00}"/>
              </a:ext>
            </a:extLst>
          </p:cNvPr>
          <p:cNvSpPr/>
          <p:nvPr/>
        </p:nvSpPr>
        <p:spPr>
          <a:xfrm>
            <a:off x="6036611" y="3909965"/>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6" name="Freeform 9">
            <a:extLst>
              <a:ext uri="{FF2B5EF4-FFF2-40B4-BE49-F238E27FC236}">
                <a16:creationId xmlns:a16="http://schemas.microsoft.com/office/drawing/2014/main" id="{837002BE-818D-40FD-A450-8FF2AA64F880}"/>
              </a:ext>
            </a:extLst>
          </p:cNvPr>
          <p:cNvSpPr/>
          <p:nvPr/>
        </p:nvSpPr>
        <p:spPr>
          <a:xfrm>
            <a:off x="6031531" y="4790909"/>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2" name="TextBox 1">
            <a:extLst>
              <a:ext uri="{FF2B5EF4-FFF2-40B4-BE49-F238E27FC236}">
                <a16:creationId xmlns:a16="http://schemas.microsoft.com/office/drawing/2014/main" id="{448EFE20-8FF1-4FA2-B1B6-5BB7583F9B1C}"/>
              </a:ext>
            </a:extLst>
          </p:cNvPr>
          <p:cNvSpPr txBox="1"/>
          <p:nvPr/>
        </p:nvSpPr>
        <p:spPr>
          <a:xfrm>
            <a:off x="748629" y="4751849"/>
            <a:ext cx="4109260" cy="912814"/>
          </a:xfrm>
          <a:prstGeom prst="rect">
            <a:avLst/>
          </a:prstGeom>
          <a:noFill/>
        </p:spPr>
        <p:txBody>
          <a:bodyPr wrap="square" rtlCol="0">
            <a:spAutoFit/>
          </a:bodyPr>
          <a:lstStyle/>
          <a:p>
            <a:r>
              <a:rPr lang="en-US" sz="1333" dirty="0">
                <a:latin typeface="Public Sans" panose="020B0604020202020204" charset="0"/>
              </a:rPr>
              <a:t>Ohio TechNet’s strategic focus areas provide partners with best practices, models, and technical assistance to address the critical workforce needs in the state</a:t>
            </a:r>
          </a:p>
        </p:txBody>
      </p:sp>
      <p:pic>
        <p:nvPicPr>
          <p:cNvPr id="38" name="Picture 37">
            <a:extLst>
              <a:ext uri="{FF2B5EF4-FFF2-40B4-BE49-F238E27FC236}">
                <a16:creationId xmlns:a16="http://schemas.microsoft.com/office/drawing/2014/main" id="{AFD72FDE-5C51-44FF-9C7F-5ADB3B6CE5EC}"/>
              </a:ext>
            </a:extLst>
          </p:cNvPr>
          <p:cNvPicPr>
            <a:picLocks noChangeAspect="1"/>
          </p:cNvPicPr>
          <p:nvPr/>
        </p:nvPicPr>
        <p:blipFill>
          <a:blip r:embed="rId19">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8956517" y="5943472"/>
            <a:ext cx="2405750" cy="642213"/>
          </a:xfrm>
          <a:prstGeom prst="rect">
            <a:avLst/>
          </a:prstGeom>
        </p:spPr>
      </p:pic>
    </p:spTree>
  </p:cSld>
  <p:clrMapOvr>
    <a:masterClrMapping/>
  </p:clrMapOvr>
  <p:transition spd="slow">
    <p:randomBar dir="vert"/>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9DE52-78E5-828E-42AC-28DB1798F8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F05988-28B4-4502-165B-6AA95F738B55}"/>
              </a:ext>
            </a:extLst>
          </p:cNvPr>
          <p:cNvSpPr>
            <a:spLocks noGrp="1"/>
          </p:cNvSpPr>
          <p:nvPr>
            <p:ph type="title"/>
          </p:nvPr>
        </p:nvSpPr>
        <p:spPr/>
        <p:txBody>
          <a:bodyPr/>
          <a:lstStyle/>
          <a:p>
            <a:r>
              <a:rPr lang="en-US" dirty="0"/>
              <a:t>Intentional Alignment Model</a:t>
            </a:r>
          </a:p>
        </p:txBody>
      </p:sp>
      <p:graphicFrame>
        <p:nvGraphicFramePr>
          <p:cNvPr id="4" name="Content Placeholder 3">
            <a:extLst>
              <a:ext uri="{FF2B5EF4-FFF2-40B4-BE49-F238E27FC236}">
                <a16:creationId xmlns:a16="http://schemas.microsoft.com/office/drawing/2014/main" id="{2C7A50F8-8F89-B651-7D9A-0CA4C1657AE1}"/>
              </a:ext>
            </a:extLst>
          </p:cNvPr>
          <p:cNvGraphicFramePr>
            <a:graphicFrameLocks noGrp="1"/>
          </p:cNvGraphicFramePr>
          <p:nvPr>
            <p:ph idx="1"/>
          </p:nvPr>
        </p:nvGraphicFramePr>
        <p:xfrm>
          <a:off x="8965" y="368860"/>
          <a:ext cx="12185275" cy="64916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921067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0B000402020202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0B000402020202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2" name="Title 1">
            <a:extLst>
              <a:ext uri="{FF2B5EF4-FFF2-40B4-BE49-F238E27FC236}">
                <a16:creationId xmlns:a16="http://schemas.microsoft.com/office/drawing/2014/main" id="{8AB0D930-7CA9-34B9-6342-C9143DDEFBD6}"/>
              </a:ext>
            </a:extLst>
          </p:cNvPr>
          <p:cNvSpPr>
            <a:spLocks noGrp="1"/>
          </p:cNvSpPr>
          <p:nvPr>
            <p:ph type="title"/>
          </p:nvPr>
        </p:nvSpPr>
        <p:spPr>
          <a:xfrm>
            <a:off x="466722" y="586855"/>
            <a:ext cx="3201366" cy="3387497"/>
          </a:xfrm>
        </p:spPr>
        <p:txBody>
          <a:bodyPr anchor="b">
            <a:normAutofit/>
          </a:bodyPr>
          <a:lstStyle/>
          <a:p>
            <a:pPr algn="r"/>
            <a:r>
              <a:rPr lang="en-US" sz="4000">
                <a:solidFill>
                  <a:srgbClr val="FFFFFF"/>
                </a:solidFill>
              </a:rPr>
              <a:t>Advanced Engineering Systems</a:t>
            </a:r>
          </a:p>
        </p:txBody>
      </p:sp>
      <p:sp>
        <p:nvSpPr>
          <p:cNvPr id="3" name="Content Placeholder 2">
            <a:extLst>
              <a:ext uri="{FF2B5EF4-FFF2-40B4-BE49-F238E27FC236}">
                <a16:creationId xmlns:a16="http://schemas.microsoft.com/office/drawing/2014/main" id="{17FD1F70-8C50-1066-7A28-6399EF577357}"/>
              </a:ext>
            </a:extLst>
          </p:cNvPr>
          <p:cNvSpPr>
            <a:spLocks noGrp="1"/>
          </p:cNvSpPr>
          <p:nvPr>
            <p:ph idx="1"/>
          </p:nvPr>
        </p:nvSpPr>
        <p:spPr>
          <a:xfrm>
            <a:off x="4581727" y="588520"/>
            <a:ext cx="5514503" cy="5607007"/>
          </a:xfrm>
        </p:spPr>
        <p:txBody>
          <a:bodyPr vert="horz" lIns="91440" tIns="45720" rIns="91440" bIns="45720" rtlCol="0" anchor="ctr">
            <a:noAutofit/>
          </a:bodyPr>
          <a:lstStyle/>
          <a:p>
            <a:r>
              <a:rPr lang="en-US" sz="1600" b="1" dirty="0"/>
              <a:t>CTSO</a:t>
            </a:r>
          </a:p>
          <a:p>
            <a:pPr lvl="1">
              <a:buFont typeface="Courier New" panose="020B0604020202020204" pitchFamily="34" charset="0"/>
              <a:buChar char="o"/>
            </a:pPr>
            <a:r>
              <a:rPr lang="en-US" sz="1600" dirty="0"/>
              <a:t>SkillsUSA</a:t>
            </a:r>
          </a:p>
          <a:p>
            <a:r>
              <a:rPr lang="en-US" sz="1600" b="1" dirty="0"/>
              <a:t>Work Based Learning</a:t>
            </a:r>
          </a:p>
          <a:p>
            <a:pPr lvl="1">
              <a:buFont typeface="Courier New" panose="020B0604020202020204" pitchFamily="34" charset="0"/>
              <a:buChar char="o"/>
            </a:pPr>
            <a:r>
              <a:rPr lang="en-US" sz="1600" dirty="0"/>
              <a:t>School Based Enterprise</a:t>
            </a:r>
          </a:p>
          <a:p>
            <a:pPr lvl="1">
              <a:buFont typeface="Courier New" panose="020B0604020202020204" pitchFamily="34" charset="0"/>
              <a:buChar char="o"/>
            </a:pPr>
            <a:r>
              <a:rPr lang="en-US" sz="1600" dirty="0"/>
              <a:t>Internships/Pre-apprenticeships</a:t>
            </a:r>
          </a:p>
          <a:p>
            <a:r>
              <a:rPr lang="en-US" sz="1600" b="1" dirty="0"/>
              <a:t>Industry Recognized Credentials</a:t>
            </a:r>
          </a:p>
          <a:p>
            <a:pPr lvl="1">
              <a:buFont typeface="Courier New" panose="020B0604020202020204" pitchFamily="34" charset="0"/>
              <a:buChar char="o"/>
            </a:pPr>
            <a:r>
              <a:rPr lang="en-US" sz="1600" dirty="0"/>
              <a:t>Preferred</a:t>
            </a:r>
          </a:p>
          <a:p>
            <a:pPr lvl="2">
              <a:buFont typeface="Wingdings" panose="020B0604020202020204" pitchFamily="34" charset="0"/>
              <a:buChar char="§"/>
            </a:pPr>
            <a:r>
              <a:rPr lang="en-US" sz="1600" dirty="0"/>
              <a:t>OSHA10</a:t>
            </a:r>
          </a:p>
          <a:p>
            <a:pPr lvl="2">
              <a:buFont typeface="Wingdings" panose="020B0604020202020204" pitchFamily="34" charset="0"/>
              <a:buChar char="§"/>
            </a:pPr>
            <a:r>
              <a:rPr lang="en-US" sz="1600" dirty="0"/>
              <a:t>Lean Six Sigma</a:t>
            </a:r>
          </a:p>
          <a:p>
            <a:pPr lvl="1">
              <a:buFont typeface="Courier New" panose="020B0604020202020204" pitchFamily="34" charset="0"/>
              <a:buChar char="o"/>
            </a:pPr>
            <a:r>
              <a:rPr lang="en-US" sz="1600" dirty="0"/>
              <a:t>Valued</a:t>
            </a:r>
          </a:p>
          <a:p>
            <a:pPr lvl="2">
              <a:buFont typeface="Wingdings" panose="020B0604020202020204" pitchFamily="34" charset="0"/>
              <a:buChar char="§"/>
            </a:pPr>
            <a:r>
              <a:rPr lang="en-US" sz="1600" dirty="0"/>
              <a:t>CSWA</a:t>
            </a:r>
          </a:p>
          <a:p>
            <a:pPr lvl="2">
              <a:buFont typeface="Wingdings" panose="020B0604020202020204" pitchFamily="34" charset="0"/>
              <a:buChar char="§"/>
            </a:pPr>
            <a:r>
              <a:rPr lang="en-US" sz="1600" dirty="0"/>
              <a:t>Haas Basic Milling</a:t>
            </a:r>
          </a:p>
          <a:p>
            <a:pPr lvl="2">
              <a:buFont typeface="Wingdings" panose="020B0604020202020204" pitchFamily="34" charset="0"/>
              <a:buChar char="§"/>
            </a:pPr>
            <a:r>
              <a:rPr lang="en-US" sz="1600" dirty="0"/>
              <a:t>Certified Additive Manufacturing Fundamentals</a:t>
            </a:r>
          </a:p>
          <a:p>
            <a:pPr lvl="2">
              <a:buFont typeface="Wingdings" panose="020B0604020202020204" pitchFamily="34" charset="0"/>
              <a:buChar char="§"/>
            </a:pPr>
            <a:r>
              <a:rPr lang="en-US" sz="1600" dirty="0"/>
              <a:t>Ohio Recognized Pre-apprenticeship </a:t>
            </a:r>
          </a:p>
          <a:p>
            <a:pPr lvl="1">
              <a:buFont typeface="Courier New" panose="020B0604020202020204" pitchFamily="34" charset="0"/>
              <a:buChar char="o"/>
            </a:pPr>
            <a:r>
              <a:rPr lang="en-US" sz="1600" dirty="0"/>
              <a:t>Recognized</a:t>
            </a:r>
          </a:p>
          <a:p>
            <a:r>
              <a:rPr lang="en-US" sz="1600" b="1" dirty="0"/>
              <a:t>College Credit</a:t>
            </a:r>
          </a:p>
          <a:p>
            <a:pPr lvl="1">
              <a:buFont typeface="Courier New" panose="020B0604020202020204" pitchFamily="34" charset="0"/>
              <a:buChar char="o"/>
            </a:pPr>
            <a:r>
              <a:rPr lang="en-US" sz="1600" dirty="0"/>
              <a:t>Sinclair Short Term Certificate – Additive Design Specialist</a:t>
            </a:r>
          </a:p>
          <a:p>
            <a:pPr lvl="1">
              <a:buFont typeface="Courier New" panose="020B0604020202020204" pitchFamily="34" charset="0"/>
              <a:buChar char="o"/>
            </a:pPr>
            <a:r>
              <a:rPr lang="en-US" sz="1600" dirty="0"/>
              <a:t>Worked with Sinclair to be within 4 courses of an Associates in Manufacturing Engineering Technology</a:t>
            </a:r>
            <a:endParaRPr lang="en-US"/>
          </a:p>
          <a:p>
            <a:pPr lvl="1">
              <a:buFont typeface="Courier New" panose="020B0604020202020204" pitchFamily="34" charset="0"/>
              <a:buChar char="o"/>
            </a:pPr>
            <a:r>
              <a:rPr lang="en-US" sz="1600" err="1"/>
              <a:t>TechPrep</a:t>
            </a:r>
            <a:r>
              <a:rPr lang="en-US" sz="1600" dirty="0"/>
              <a:t> Scholarship – 2+2 with UD/Wright State</a:t>
            </a:r>
          </a:p>
          <a:p>
            <a:r>
              <a:rPr lang="en-US" sz="1600" b="1" dirty="0"/>
              <a:t>Complementary Academics</a:t>
            </a:r>
          </a:p>
          <a:p>
            <a:pPr lvl="1">
              <a:buFont typeface="Courier New" panose="020B0604020202020204" pitchFamily="34" charset="0"/>
              <a:buChar char="o"/>
            </a:pPr>
            <a:r>
              <a:rPr lang="en-US" sz="1600" dirty="0"/>
              <a:t>Material Science</a:t>
            </a:r>
          </a:p>
        </p:txBody>
      </p:sp>
      <p:pic>
        <p:nvPicPr>
          <p:cNvPr id="5" name="Graphic 4" descr="Programmer female with solid fill">
            <a:extLst>
              <a:ext uri="{FF2B5EF4-FFF2-40B4-BE49-F238E27FC236}">
                <a16:creationId xmlns:a16="http://schemas.microsoft.com/office/drawing/2014/main" id="{B532B19D-2964-814D-DCB5-783211CB2E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24942" y="184331"/>
            <a:ext cx="2091776" cy="2091776"/>
          </a:xfrm>
          <a:prstGeom prst="rect">
            <a:avLst/>
          </a:prstGeom>
        </p:spPr>
      </p:pic>
    </p:spTree>
    <p:extLst>
      <p:ext uri="{BB962C8B-B14F-4D97-AF65-F5344CB8AC3E}">
        <p14:creationId xmlns:p14="http://schemas.microsoft.com/office/powerpoint/2010/main" val="11131175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0" name="Rectangle 9">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2" name="Rectangle 11">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4" name="Rectangle 13">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6" name="Rectangle 15">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18" name="Freeform: Shape 17">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0B0004020202020204"/>
              <a:ea typeface="+mn-ea"/>
              <a:cs typeface="+mn-cs"/>
            </a:endParaRPr>
          </a:p>
        </p:txBody>
      </p:sp>
      <p:sp>
        <p:nvSpPr>
          <p:cNvPr id="2" name="Title 1">
            <a:extLst>
              <a:ext uri="{FF2B5EF4-FFF2-40B4-BE49-F238E27FC236}">
                <a16:creationId xmlns:a16="http://schemas.microsoft.com/office/drawing/2014/main" id="{FEEFAF89-680A-21F6-C910-588A4547E2BC}"/>
              </a:ext>
            </a:extLst>
          </p:cNvPr>
          <p:cNvSpPr>
            <a:spLocks noGrp="1"/>
          </p:cNvSpPr>
          <p:nvPr>
            <p:ph type="title"/>
          </p:nvPr>
        </p:nvSpPr>
        <p:spPr>
          <a:xfrm>
            <a:off x="1314824" y="735106"/>
            <a:ext cx="10053763" cy="2928470"/>
          </a:xfrm>
        </p:spPr>
        <p:txBody>
          <a:bodyPr vert="horz" lIns="91440" tIns="45720" rIns="91440" bIns="45720" rtlCol="0" anchor="b">
            <a:normAutofit/>
          </a:bodyPr>
          <a:lstStyle/>
          <a:p>
            <a:r>
              <a:rPr lang="en-US" sz="4800" kern="1200">
                <a:solidFill>
                  <a:srgbClr val="FFFFFF"/>
                </a:solidFill>
                <a:latin typeface="+mj-lt"/>
                <a:ea typeface="+mj-ea"/>
                <a:cs typeface="+mj-cs"/>
              </a:rPr>
              <a:t>Questions?</a:t>
            </a:r>
          </a:p>
        </p:txBody>
      </p:sp>
      <p:sp>
        <p:nvSpPr>
          <p:cNvPr id="3" name="Content Placeholder 2">
            <a:extLst>
              <a:ext uri="{FF2B5EF4-FFF2-40B4-BE49-F238E27FC236}">
                <a16:creationId xmlns:a16="http://schemas.microsoft.com/office/drawing/2014/main" id="{FAD2BAB7-A6E1-1463-3DBB-FBB089DFE806}"/>
              </a:ext>
            </a:extLst>
          </p:cNvPr>
          <p:cNvSpPr>
            <a:spLocks noGrp="1"/>
          </p:cNvSpPr>
          <p:nvPr>
            <p:ph type="body" idx="1"/>
          </p:nvPr>
        </p:nvSpPr>
        <p:spPr>
          <a:xfrm>
            <a:off x="1350682" y="4870824"/>
            <a:ext cx="10005951" cy="1458258"/>
          </a:xfrm>
        </p:spPr>
        <p:txBody>
          <a:bodyPr vert="horz" lIns="91440" tIns="45720" rIns="91440" bIns="45720" rtlCol="0" anchor="ctr">
            <a:normAutofit/>
          </a:bodyPr>
          <a:lstStyle/>
          <a:p>
            <a:r>
              <a:rPr lang="en-US" kern="1200" dirty="0">
                <a:solidFill>
                  <a:schemeClr val="tx1"/>
                </a:solidFill>
                <a:latin typeface="+mn-lt"/>
                <a:ea typeface="+mn-ea"/>
                <a:cs typeface="+mn-cs"/>
              </a:rPr>
              <a:t>Brett </a:t>
            </a:r>
            <a:r>
              <a:rPr lang="en-US" kern="1200" dirty="0" err="1">
                <a:solidFill>
                  <a:schemeClr val="tx1"/>
                </a:solidFill>
                <a:latin typeface="+mn-lt"/>
                <a:ea typeface="+mn-ea"/>
                <a:cs typeface="+mn-cs"/>
              </a:rPr>
              <a:t>Doudican</a:t>
            </a:r>
            <a:r>
              <a:rPr lang="en-US" kern="1200" dirty="0">
                <a:solidFill>
                  <a:schemeClr val="tx1"/>
                </a:solidFill>
                <a:latin typeface="+mn-lt"/>
                <a:ea typeface="+mn-ea"/>
                <a:cs typeface="+mn-cs"/>
              </a:rPr>
              <a:t> – </a:t>
            </a:r>
            <a:r>
              <a:rPr lang="en-US" kern="1200" dirty="0">
                <a:solidFill>
                  <a:schemeClr val="tx1"/>
                </a:solidFill>
                <a:latin typeface="+mn-lt"/>
                <a:ea typeface="+mn-ea"/>
                <a:cs typeface="+mn-cs"/>
                <a:hlinkClick r:id="rId2"/>
              </a:rPr>
              <a:t>bdoudican@greeneccc.com</a:t>
            </a:r>
            <a:r>
              <a:rPr lang="en-US" kern="1200" dirty="0">
                <a:solidFill>
                  <a:schemeClr val="tx1"/>
                </a:solidFill>
                <a:latin typeface="+mn-lt"/>
                <a:ea typeface="+mn-ea"/>
                <a:cs typeface="+mn-cs"/>
              </a:rPr>
              <a:t> </a:t>
            </a:r>
          </a:p>
        </p:txBody>
      </p:sp>
    </p:spTree>
    <p:extLst>
      <p:ext uri="{BB962C8B-B14F-4D97-AF65-F5344CB8AC3E}">
        <p14:creationId xmlns:p14="http://schemas.microsoft.com/office/powerpoint/2010/main" val="18191411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4181" y="-23560"/>
            <a:ext cx="12189266" cy="688156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dirty="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5" name="TextBox 35"/>
          <p:cNvSpPr txBox="1"/>
          <p:nvPr/>
        </p:nvSpPr>
        <p:spPr>
          <a:xfrm>
            <a:off x="484182" y="790169"/>
            <a:ext cx="5029676" cy="246734"/>
          </a:xfrm>
          <a:prstGeom prst="rect">
            <a:avLst/>
          </a:prstGeom>
        </p:spPr>
        <p:txBody>
          <a:bodyPr wrap="square" lIns="0" tIns="0" rIns="0" bIns="0" rtlCol="0" anchor="t">
            <a:spAutoFit/>
          </a:bodyPr>
          <a:lstStyle/>
          <a:p>
            <a:pPr>
              <a:lnSpc>
                <a:spcPts val="2147"/>
              </a:lnSpc>
            </a:pPr>
            <a:r>
              <a:rPr lang="en-US" sz="1533" dirty="0">
                <a:solidFill>
                  <a:srgbClr val="1D1A1B"/>
                </a:solidFill>
                <a:latin typeface="Public Sans"/>
                <a:ea typeface="Public Sans"/>
                <a:cs typeface="Public Sans"/>
                <a:sym typeface="Public Sans"/>
              </a:rPr>
              <a:t>Partners in Training Ohio’s Manufacturing Workforc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3">
              <a:extLst>
                <a:ext uri="{96DAC541-7B7A-43D3-8B79-37D633B846F1}">
                  <asvg:svgBlip xmlns:asvg="http://schemas.microsoft.com/office/drawing/2016/SVG/main" r:embed="rId4"/>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1">
              <a:extLst>
                <a:ext uri="{96DAC541-7B7A-43D3-8B79-37D633B846F1}">
                  <asvg:svgBlip xmlns:asvg="http://schemas.microsoft.com/office/drawing/2016/SVG/main" r:embed="rId12"/>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3">
              <a:extLst>
                <a:ext uri="{96DAC541-7B7A-43D3-8B79-37D633B846F1}">
                  <asvg:svgBlip xmlns:asvg="http://schemas.microsoft.com/office/drawing/2016/SVG/main" r:embed="rId14"/>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5">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09289" y="112960"/>
            <a:ext cx="2723636" cy="727072"/>
          </a:xfrm>
          <a:prstGeom prst="rect">
            <a:avLst/>
          </a:prstGeom>
        </p:spPr>
      </p:pic>
      <p:sp>
        <p:nvSpPr>
          <p:cNvPr id="8" name="TextBox 7">
            <a:extLst>
              <a:ext uri="{FF2B5EF4-FFF2-40B4-BE49-F238E27FC236}">
                <a16:creationId xmlns:a16="http://schemas.microsoft.com/office/drawing/2014/main" id="{7D5855B0-C4B5-487B-8555-94B567121885}"/>
              </a:ext>
            </a:extLst>
          </p:cNvPr>
          <p:cNvSpPr txBox="1"/>
          <p:nvPr/>
        </p:nvSpPr>
        <p:spPr>
          <a:xfrm>
            <a:off x="6864566" y="1881894"/>
            <a:ext cx="4893539" cy="1200329"/>
          </a:xfrm>
          <a:prstGeom prst="rect">
            <a:avLst/>
          </a:prstGeom>
          <a:noFill/>
        </p:spPr>
        <p:txBody>
          <a:bodyPr wrap="square" rtlCol="0">
            <a:spAutoFit/>
          </a:bodyPr>
          <a:lstStyle/>
          <a:p>
            <a:pPr algn="ctr"/>
            <a:r>
              <a:rPr lang="en-US" sz="4000" b="1" dirty="0">
                <a:latin typeface="Aptos" panose="020B0004020202020204" pitchFamily="34" charset="0"/>
              </a:rPr>
              <a:t>June OTN Meeting</a:t>
            </a:r>
            <a:br>
              <a:rPr lang="en-US" sz="4000" b="1" dirty="0">
                <a:latin typeface="Aptos" panose="020B0004020202020204" pitchFamily="34" charset="0"/>
              </a:rPr>
            </a:br>
            <a:r>
              <a:rPr lang="en-US" sz="3200" b="1" dirty="0">
                <a:latin typeface="Aptos" panose="020B0004020202020204" pitchFamily="34" charset="0"/>
              </a:rPr>
              <a:t>June 17, 2025 at 8:30am</a:t>
            </a:r>
            <a:endParaRPr lang="en-US" sz="4000" dirty="0">
              <a:latin typeface="Aptos" panose="020B0004020202020204" pitchFamily="34" charset="0"/>
            </a:endParaRPr>
          </a:p>
        </p:txBody>
      </p:sp>
      <p:pic>
        <p:nvPicPr>
          <p:cNvPr id="2050" name="Picture 2" descr="Columbus State Community Based Partnerships">
            <a:extLst>
              <a:ext uri="{FF2B5EF4-FFF2-40B4-BE49-F238E27FC236}">
                <a16:creationId xmlns:a16="http://schemas.microsoft.com/office/drawing/2014/main" id="{B6BC7F32-7E06-418F-B02A-BA95E8C2BA6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65883" y="1674391"/>
            <a:ext cx="5846983" cy="373370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E4C689E3-9A9A-4E68-813E-7E223B3E8E16}"/>
              </a:ext>
            </a:extLst>
          </p:cNvPr>
          <p:cNvPicPr>
            <a:picLocks noChangeAspect="1"/>
          </p:cNvPicPr>
          <p:nvPr/>
        </p:nvPicPr>
        <p:blipFill rotWithShape="1">
          <a:blip r:embed="rId17">
            <a:clrChange>
              <a:clrFrom>
                <a:srgbClr val="FFFFFF"/>
              </a:clrFrom>
              <a:clrTo>
                <a:srgbClr val="FFFFFF">
                  <a:alpha val="0"/>
                </a:srgbClr>
              </a:clrTo>
            </a:clrChange>
          </a:blip>
          <a:srcRect r="70860"/>
          <a:stretch/>
        </p:blipFill>
        <p:spPr>
          <a:xfrm>
            <a:off x="7831168" y="3126153"/>
            <a:ext cx="3175926" cy="1705284"/>
          </a:xfrm>
          <a:prstGeom prst="rect">
            <a:avLst/>
          </a:prstGeom>
          <a:ln>
            <a:noFill/>
          </a:ln>
        </p:spPr>
      </p:pic>
    </p:spTree>
    <p:extLst>
      <p:ext uri="{BB962C8B-B14F-4D97-AF65-F5344CB8AC3E}">
        <p14:creationId xmlns:p14="http://schemas.microsoft.com/office/powerpoint/2010/main" val="1852842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sp>
        <p:nvSpPr>
          <p:cNvPr id="3" name="Freeform 3"/>
          <p:cNvSpPr/>
          <p:nvPr/>
        </p:nvSpPr>
        <p:spPr>
          <a:xfrm rot="5400000">
            <a:off x="2997593" y="3431273"/>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8" name="TextBox 38"/>
          <p:cNvSpPr txBox="1"/>
          <p:nvPr/>
        </p:nvSpPr>
        <p:spPr>
          <a:xfrm>
            <a:off x="358270" y="2483570"/>
            <a:ext cx="4816377" cy="2400657"/>
          </a:xfrm>
          <a:prstGeom prst="rect">
            <a:avLst/>
          </a:prstGeom>
        </p:spPr>
        <p:txBody>
          <a:bodyPr wrap="square" lIns="0" tIns="0" rIns="0" bIns="0" rtlCol="0" anchor="t">
            <a:spAutoFit/>
          </a:bodyPr>
          <a:lstStyle/>
          <a:p>
            <a:r>
              <a:rPr lang="en-US" sz="6000" b="1" dirty="0">
                <a:latin typeface="Aptos"/>
                <a:cs typeface="Arial"/>
              </a:rPr>
              <a:t>MORNING </a:t>
            </a:r>
            <a:br>
              <a:rPr lang="en-US" sz="6000" b="1" dirty="0">
                <a:latin typeface="Aptos"/>
                <a:cs typeface="Arial"/>
              </a:rPr>
            </a:br>
            <a:r>
              <a:rPr lang="en-US" sz="6000" b="1" dirty="0">
                <a:latin typeface="Aptos"/>
                <a:cs typeface="Arial"/>
              </a:rPr>
              <a:t>ICEBREAKER</a:t>
            </a:r>
          </a:p>
          <a:p>
            <a:pPr marL="171450" indent="-171450">
              <a:buFont typeface="Arial" panose="020B0604020202020204" pitchFamily="34" charset="0"/>
              <a:buChar char="•"/>
            </a:pPr>
            <a:endParaRPr lang="en-US" sz="3200" dirty="0">
              <a:latin typeface="Aptos" panose="020B0004020202020204" pitchFamily="34" charset="0"/>
              <a:cs typeface="Arial" panose="020B0604020202020204" pitchFamily="34" charset="0"/>
            </a:endParaRP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6">
              <a:extLst>
                <a:ext uri="{96DAC541-7B7A-43D3-8B79-37D633B846F1}">
                  <asvg:svgBlip xmlns:asvg="http://schemas.microsoft.com/office/drawing/2016/SVG/main" r:embed="rId7"/>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4">
              <a:extLst>
                <a:ext uri="{96DAC541-7B7A-43D3-8B79-37D633B846F1}">
                  <asvg:svgBlip xmlns:asvg="http://schemas.microsoft.com/office/drawing/2016/SVG/main" r:embed="rId15"/>
                </a:ext>
              </a:extLst>
            </a:blip>
            <a:stretch>
              <a:fillRect t="-561128"/>
            </a:stretch>
          </a:blipFill>
        </p:spPr>
      </p:sp>
      <p:sp>
        <p:nvSpPr>
          <p:cNvPr id="47" name="Freeform 47"/>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6">
              <a:extLst>
                <a:ext uri="{96DAC541-7B7A-43D3-8B79-37D633B846F1}">
                  <asvg:svgBlip xmlns:asvg="http://schemas.microsoft.com/office/drawing/2016/SVG/main" r:embed="rId17"/>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8">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58270" y="926003"/>
            <a:ext cx="2723636" cy="727072"/>
          </a:xfrm>
          <a:prstGeom prst="rect">
            <a:avLst/>
          </a:prstGeom>
        </p:spPr>
      </p:pic>
      <p:sp>
        <p:nvSpPr>
          <p:cNvPr id="5" name="TextBox 4">
            <a:extLst>
              <a:ext uri="{FF2B5EF4-FFF2-40B4-BE49-F238E27FC236}">
                <a16:creationId xmlns:a16="http://schemas.microsoft.com/office/drawing/2014/main" id="{A39BD3F1-09A3-4A9A-AFD9-CCE825F3C447}"/>
              </a:ext>
            </a:extLst>
          </p:cNvPr>
          <p:cNvSpPr txBox="1"/>
          <p:nvPr/>
        </p:nvSpPr>
        <p:spPr>
          <a:xfrm>
            <a:off x="5731297" y="1635523"/>
            <a:ext cx="6125269" cy="3170099"/>
          </a:xfrm>
          <a:prstGeom prst="rect">
            <a:avLst/>
          </a:prstGeom>
          <a:noFill/>
        </p:spPr>
        <p:txBody>
          <a:bodyPr wrap="square" rtlCol="0">
            <a:spAutoFit/>
          </a:bodyPr>
          <a:lstStyle/>
          <a:p>
            <a:r>
              <a:rPr lang="en-US" sz="4000" dirty="0"/>
              <a:t>You’ve just won an all-expenses paid trip-but you have to leave in 5 minutes.</a:t>
            </a:r>
            <a:br>
              <a:rPr lang="en-US" sz="4000" dirty="0"/>
            </a:br>
            <a:br>
              <a:rPr lang="en-US" sz="4000" dirty="0"/>
            </a:br>
            <a:r>
              <a:rPr lang="en-US" sz="4000" b="1" i="1" dirty="0"/>
              <a:t>Where are you going?</a:t>
            </a:r>
          </a:p>
        </p:txBody>
      </p:sp>
    </p:spTree>
    <p:extLst>
      <p:ext uri="{BB962C8B-B14F-4D97-AF65-F5344CB8AC3E}">
        <p14:creationId xmlns:p14="http://schemas.microsoft.com/office/powerpoint/2010/main" val="2026029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0" y="-255376"/>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47697" y="104728"/>
            <a:ext cx="2723636" cy="727072"/>
          </a:xfrm>
          <a:prstGeom prst="rect">
            <a:avLst/>
          </a:prstGeom>
        </p:spPr>
      </p:pic>
      <p:pic>
        <p:nvPicPr>
          <p:cNvPr id="6" name="Picture 5">
            <a:extLst>
              <a:ext uri="{FF2B5EF4-FFF2-40B4-BE49-F238E27FC236}">
                <a16:creationId xmlns:a16="http://schemas.microsoft.com/office/drawing/2014/main" id="{5C5B6A5F-9320-4587-AD6E-EFE960ED3840}"/>
              </a:ext>
            </a:extLst>
          </p:cNvPr>
          <p:cNvPicPr>
            <a:picLocks noChangeAspect="1"/>
          </p:cNvPicPr>
          <p:nvPr/>
        </p:nvPicPr>
        <p:blipFill rotWithShape="1">
          <a:blip r:embed="rId17"/>
          <a:srcRect b="20682"/>
          <a:stretch/>
        </p:blipFill>
        <p:spPr>
          <a:xfrm>
            <a:off x="826704" y="820916"/>
            <a:ext cx="11363810" cy="3169324"/>
          </a:xfrm>
          <a:prstGeom prst="rect">
            <a:avLst/>
          </a:prstGeom>
        </p:spPr>
      </p:pic>
      <p:sp>
        <p:nvSpPr>
          <p:cNvPr id="7" name="TextBox 6">
            <a:extLst>
              <a:ext uri="{FF2B5EF4-FFF2-40B4-BE49-F238E27FC236}">
                <a16:creationId xmlns:a16="http://schemas.microsoft.com/office/drawing/2014/main" id="{BE9A7957-4C81-4345-8B7B-408D65E2D464}"/>
              </a:ext>
            </a:extLst>
          </p:cNvPr>
          <p:cNvSpPr txBox="1"/>
          <p:nvPr/>
        </p:nvSpPr>
        <p:spPr>
          <a:xfrm>
            <a:off x="1804110" y="3994749"/>
            <a:ext cx="10290561" cy="646331"/>
          </a:xfrm>
          <a:prstGeom prst="rect">
            <a:avLst/>
          </a:prstGeom>
          <a:noFill/>
        </p:spPr>
        <p:txBody>
          <a:bodyPr wrap="square" rtlCol="0">
            <a:spAutoFit/>
          </a:bodyPr>
          <a:lstStyle/>
          <a:p>
            <a:r>
              <a:rPr lang="en-US" sz="3600" i="1" dirty="0"/>
              <a:t>Thank you to everyone that attended on April 30th!</a:t>
            </a:r>
          </a:p>
        </p:txBody>
      </p:sp>
      <p:sp>
        <p:nvSpPr>
          <p:cNvPr id="8" name="TextBox 7">
            <a:extLst>
              <a:ext uri="{FF2B5EF4-FFF2-40B4-BE49-F238E27FC236}">
                <a16:creationId xmlns:a16="http://schemas.microsoft.com/office/drawing/2014/main" id="{8A6AC707-B5BF-4D79-85E0-87892C1E99A0}"/>
              </a:ext>
            </a:extLst>
          </p:cNvPr>
          <p:cNvSpPr txBox="1"/>
          <p:nvPr/>
        </p:nvSpPr>
        <p:spPr>
          <a:xfrm>
            <a:off x="3295881" y="5012881"/>
            <a:ext cx="3619901" cy="646331"/>
          </a:xfrm>
          <a:prstGeom prst="rect">
            <a:avLst/>
          </a:prstGeom>
          <a:noFill/>
        </p:spPr>
        <p:txBody>
          <a:bodyPr wrap="square" rtlCol="0">
            <a:spAutoFit/>
          </a:bodyPr>
          <a:lstStyle/>
          <a:p>
            <a:pPr algn="ctr"/>
            <a:r>
              <a:rPr lang="en-US" dirty="0"/>
              <a:t>Post-Event Recap is Available! </a:t>
            </a:r>
            <a:br>
              <a:rPr lang="en-US" dirty="0"/>
            </a:br>
            <a:r>
              <a:rPr lang="en-US" dirty="0"/>
              <a:t>Event Materials, Pictures, and more! </a:t>
            </a:r>
          </a:p>
        </p:txBody>
      </p:sp>
      <p:sp>
        <p:nvSpPr>
          <p:cNvPr id="9" name="TextBox 8">
            <a:extLst>
              <a:ext uri="{FF2B5EF4-FFF2-40B4-BE49-F238E27FC236}">
                <a16:creationId xmlns:a16="http://schemas.microsoft.com/office/drawing/2014/main" id="{0063C8EB-104F-42DD-8646-41C40AFB5842}"/>
              </a:ext>
            </a:extLst>
          </p:cNvPr>
          <p:cNvSpPr txBox="1"/>
          <p:nvPr/>
        </p:nvSpPr>
        <p:spPr>
          <a:xfrm>
            <a:off x="2649966" y="5726726"/>
            <a:ext cx="5203429" cy="307777"/>
          </a:xfrm>
          <a:prstGeom prst="rect">
            <a:avLst/>
          </a:prstGeom>
          <a:noFill/>
        </p:spPr>
        <p:txBody>
          <a:bodyPr wrap="square" rtlCol="0">
            <a:spAutoFit/>
          </a:bodyPr>
          <a:lstStyle/>
          <a:p>
            <a:r>
              <a:rPr lang="en-US" sz="1400" dirty="0">
                <a:hlinkClick r:id="rId18"/>
              </a:rPr>
              <a:t>https://ohiotechnet.org/our-consortium/10-year-celebration/</a:t>
            </a:r>
            <a:r>
              <a:rPr lang="en-US" sz="1400" dirty="0"/>
              <a:t> </a:t>
            </a:r>
          </a:p>
        </p:txBody>
      </p:sp>
      <p:pic>
        <p:nvPicPr>
          <p:cNvPr id="11" name="Picture 10">
            <a:extLst>
              <a:ext uri="{FF2B5EF4-FFF2-40B4-BE49-F238E27FC236}">
                <a16:creationId xmlns:a16="http://schemas.microsoft.com/office/drawing/2014/main" id="{54894B6A-BE01-4BC4-9DD5-D789F1587C62}"/>
              </a:ext>
            </a:extLst>
          </p:cNvPr>
          <p:cNvPicPr>
            <a:picLocks noChangeAspect="1"/>
          </p:cNvPicPr>
          <p:nvPr/>
        </p:nvPicPr>
        <p:blipFill>
          <a:blip r:embed="rId19"/>
          <a:stretch>
            <a:fillRect/>
          </a:stretch>
        </p:blipFill>
        <p:spPr>
          <a:xfrm>
            <a:off x="7540373" y="4708823"/>
            <a:ext cx="1507356" cy="1507356"/>
          </a:xfrm>
          <a:prstGeom prst="rect">
            <a:avLst/>
          </a:prstGeom>
        </p:spPr>
      </p:pic>
    </p:spTree>
    <p:extLst>
      <p:ext uri="{BB962C8B-B14F-4D97-AF65-F5344CB8AC3E}">
        <p14:creationId xmlns:p14="http://schemas.microsoft.com/office/powerpoint/2010/main" val="3659084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sp>
        <p:nvSpPr>
          <p:cNvPr id="3" name="Freeform 3"/>
          <p:cNvSpPr/>
          <p:nvPr/>
        </p:nvSpPr>
        <p:spPr>
          <a:xfrm rot="5400000">
            <a:off x="2997593" y="3431273"/>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8" name="TextBox 38"/>
          <p:cNvSpPr txBox="1"/>
          <p:nvPr/>
        </p:nvSpPr>
        <p:spPr>
          <a:xfrm>
            <a:off x="129611" y="2488878"/>
            <a:ext cx="4816377" cy="2400657"/>
          </a:xfrm>
          <a:prstGeom prst="rect">
            <a:avLst/>
          </a:prstGeom>
        </p:spPr>
        <p:txBody>
          <a:bodyPr wrap="square" lIns="0" tIns="0" rIns="0" bIns="0" rtlCol="0" anchor="t">
            <a:spAutoFit/>
          </a:bodyPr>
          <a:lstStyle/>
          <a:p>
            <a:pPr algn="ctr"/>
            <a:r>
              <a:rPr lang="en-US" sz="4400" b="1" dirty="0">
                <a:latin typeface="Aptos"/>
                <a:cs typeface="Arial"/>
              </a:rPr>
              <a:t>FOLLOW </a:t>
            </a:r>
            <a:br>
              <a:rPr lang="en-US" sz="4400" b="1" dirty="0">
                <a:latin typeface="Aptos"/>
                <a:cs typeface="Arial"/>
              </a:rPr>
            </a:br>
            <a:r>
              <a:rPr lang="en-US" sz="4400" b="1" dirty="0">
                <a:latin typeface="Aptos"/>
                <a:cs typeface="Arial"/>
                <a:hlinkClick r:id="rId6"/>
              </a:rPr>
              <a:t>OHIO TECHNET</a:t>
            </a:r>
            <a:br>
              <a:rPr lang="en-US" sz="4400" b="1" dirty="0">
                <a:latin typeface="Aptos"/>
                <a:cs typeface="Arial"/>
              </a:rPr>
            </a:br>
            <a:r>
              <a:rPr lang="en-US" sz="4400" b="1" dirty="0">
                <a:latin typeface="Aptos"/>
                <a:cs typeface="Arial"/>
              </a:rPr>
              <a:t> ON LINKEDIN!</a:t>
            </a:r>
          </a:p>
          <a:p>
            <a:pPr marL="171450" indent="-171450">
              <a:buFont typeface="Arial" panose="020B0604020202020204" pitchFamily="34" charset="0"/>
              <a:buChar char="•"/>
            </a:pPr>
            <a:endParaRPr lang="en-US" sz="2000" dirty="0">
              <a:latin typeface="Aptos" panose="020B0004020202020204" pitchFamily="34" charset="0"/>
              <a:cs typeface="Arial" panose="020B0604020202020204" pitchFamily="34" charset="0"/>
            </a:endParaRP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7">
              <a:extLst>
                <a:ext uri="{96DAC541-7B7A-43D3-8B79-37D633B846F1}">
                  <asvg:svgBlip xmlns:asvg="http://schemas.microsoft.com/office/drawing/2016/SVG/main" r:embed="rId8"/>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5">
              <a:extLst>
                <a:ext uri="{96DAC541-7B7A-43D3-8B79-37D633B846F1}">
                  <asvg:svgBlip xmlns:asvg="http://schemas.microsoft.com/office/drawing/2016/SVG/main" r:embed="rId16"/>
                </a:ext>
              </a:extLst>
            </a:blip>
            <a:stretch>
              <a:fillRect t="-561128"/>
            </a:stretch>
          </a:blipFill>
        </p:spPr>
      </p:sp>
      <p:sp>
        <p:nvSpPr>
          <p:cNvPr id="47" name="Freeform 47"/>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7">
              <a:extLst>
                <a:ext uri="{96DAC541-7B7A-43D3-8B79-37D633B846F1}">
                  <asvg:svgBlip xmlns:asvg="http://schemas.microsoft.com/office/drawing/2016/SVG/main" r:embed="rId18"/>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9">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58270" y="926003"/>
            <a:ext cx="2723636" cy="727072"/>
          </a:xfrm>
          <a:prstGeom prst="rect">
            <a:avLst/>
          </a:prstGeom>
        </p:spPr>
      </p:pic>
      <p:pic>
        <p:nvPicPr>
          <p:cNvPr id="3074" name="Picture 2" descr="LinkedIn">
            <a:extLst>
              <a:ext uri="{FF2B5EF4-FFF2-40B4-BE49-F238E27FC236}">
                <a16:creationId xmlns:a16="http://schemas.microsoft.com/office/drawing/2014/main" id="{FD5CC2AE-A9E5-4E55-BDE7-9E3901CEED6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276834" y="2255252"/>
            <a:ext cx="2494212" cy="23474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7631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3136937" y="3991090"/>
            <a:ext cx="8726115" cy="3447822"/>
            <a:chOff x="0" y="0"/>
            <a:chExt cx="677619" cy="267738"/>
          </a:xfrm>
        </p:grpSpPr>
        <p:sp>
          <p:nvSpPr>
            <p:cNvPr id="4" name="Freeform 4"/>
            <p:cNvSpPr/>
            <p:nvPr/>
          </p:nvSpPr>
          <p:spPr>
            <a:xfrm>
              <a:off x="0" y="0"/>
              <a:ext cx="677619" cy="267738"/>
            </a:xfrm>
            <a:custGeom>
              <a:avLst/>
              <a:gdLst/>
              <a:ahLst/>
              <a:cxnLst/>
              <a:rect l="l" t="t" r="r" b="b"/>
              <a:pathLst>
                <a:path w="677619" h="267738">
                  <a:moveTo>
                    <a:pt x="474419" y="0"/>
                  </a:moveTo>
                  <a:lnTo>
                    <a:pt x="0" y="0"/>
                  </a:lnTo>
                  <a:lnTo>
                    <a:pt x="203200" y="267738"/>
                  </a:lnTo>
                  <a:lnTo>
                    <a:pt x="677619" y="267738"/>
                  </a:lnTo>
                  <a:lnTo>
                    <a:pt x="474419" y="0"/>
                  </a:lnTo>
                  <a:close/>
                </a:path>
              </a:pathLst>
            </a:custGeom>
            <a:solidFill>
              <a:srgbClr val="A10D00"/>
            </a:solidFill>
          </p:spPr>
        </p:sp>
        <p:sp>
          <p:nvSpPr>
            <p:cNvPr id="5" name="TextBox 5"/>
            <p:cNvSpPr txBox="1"/>
            <p:nvPr/>
          </p:nvSpPr>
          <p:spPr>
            <a:xfrm>
              <a:off x="101600" y="-57150"/>
              <a:ext cx="474419" cy="324888"/>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grpSp>
        <p:nvGrpSpPr>
          <p:cNvPr id="6" name="Group 6"/>
          <p:cNvGrpSpPr/>
          <p:nvPr/>
        </p:nvGrpSpPr>
        <p:grpSpPr>
          <a:xfrm>
            <a:off x="-4671299" y="-165085"/>
            <a:ext cx="9247687" cy="5626082"/>
            <a:chOff x="0" y="0"/>
            <a:chExt cx="473570" cy="288109"/>
          </a:xfrm>
        </p:grpSpPr>
        <p:sp>
          <p:nvSpPr>
            <p:cNvPr id="7" name="Freeform 7"/>
            <p:cNvSpPr/>
            <p:nvPr/>
          </p:nvSpPr>
          <p:spPr>
            <a:xfrm>
              <a:off x="0" y="0"/>
              <a:ext cx="473570" cy="288109"/>
            </a:xfrm>
            <a:custGeom>
              <a:avLst/>
              <a:gdLst/>
              <a:ahLst/>
              <a:cxnLst/>
              <a:rect l="l" t="t" r="r" b="b"/>
              <a:pathLst>
                <a:path w="473570" h="288109">
                  <a:moveTo>
                    <a:pt x="203200" y="0"/>
                  </a:moveTo>
                  <a:lnTo>
                    <a:pt x="473570" y="0"/>
                  </a:lnTo>
                  <a:lnTo>
                    <a:pt x="270370" y="288109"/>
                  </a:lnTo>
                  <a:lnTo>
                    <a:pt x="0" y="288109"/>
                  </a:lnTo>
                  <a:lnTo>
                    <a:pt x="203200" y="0"/>
                  </a:lnTo>
                  <a:close/>
                </a:path>
              </a:pathLst>
            </a:custGeom>
            <a:solidFill>
              <a:srgbClr val="B51F19"/>
            </a:solidFill>
          </p:spPr>
        </p:sp>
        <p:sp>
          <p:nvSpPr>
            <p:cNvPr id="8" name="TextBox 8"/>
            <p:cNvSpPr txBox="1"/>
            <p:nvPr/>
          </p:nvSpPr>
          <p:spPr>
            <a:xfrm>
              <a:off x="101600" y="-57150"/>
              <a:ext cx="270370" cy="345259"/>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sp>
        <p:nvSpPr>
          <p:cNvPr id="9" name="Freeform 9"/>
          <p:cNvSpPr/>
          <p:nvPr/>
        </p:nvSpPr>
        <p:spPr>
          <a:xfrm rot="5400000">
            <a:off x="-501106" y="445037"/>
            <a:ext cx="5121263" cy="5559037"/>
          </a:xfrm>
          <a:custGeom>
            <a:avLst/>
            <a:gdLst/>
            <a:ahLst/>
            <a:cxnLst/>
            <a:rect l="l" t="t" r="r" b="b"/>
            <a:pathLst>
              <a:path w="7681894" h="8338555">
                <a:moveTo>
                  <a:pt x="0" y="0"/>
                </a:moveTo>
                <a:lnTo>
                  <a:pt x="7681894" y="0"/>
                </a:lnTo>
                <a:lnTo>
                  <a:pt x="7681894" y="8338555"/>
                </a:lnTo>
                <a:lnTo>
                  <a:pt x="0" y="8338555"/>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dirty="0"/>
          </a:p>
        </p:txBody>
      </p:sp>
      <p:grpSp>
        <p:nvGrpSpPr>
          <p:cNvPr id="10" name="Group 10"/>
          <p:cNvGrpSpPr/>
          <p:nvPr/>
        </p:nvGrpSpPr>
        <p:grpSpPr>
          <a:xfrm>
            <a:off x="277777" y="1670261"/>
            <a:ext cx="3393535" cy="3012663"/>
            <a:chOff x="0" y="0"/>
            <a:chExt cx="727368" cy="630606"/>
          </a:xfrm>
          <a:blipFill>
            <a:blip r:embed="rId4"/>
            <a:stretch>
              <a:fillRect t="-36562" b="-36562"/>
            </a:stretch>
          </a:blipFill>
        </p:grpSpPr>
        <p:sp>
          <p:nvSpPr>
            <p:cNvPr id="11" name="Freeform 11"/>
            <p:cNvSpPr/>
            <p:nvPr/>
          </p:nvSpPr>
          <p:spPr>
            <a:xfrm>
              <a:off x="0" y="0"/>
              <a:ext cx="727368" cy="630606"/>
            </a:xfrm>
            <a:custGeom>
              <a:avLst/>
              <a:gdLst/>
              <a:ahLst/>
              <a:cxnLst/>
              <a:rect l="l" t="t" r="r" b="b"/>
              <a:pathLst>
                <a:path w="727368" h="630606">
                  <a:moveTo>
                    <a:pt x="727368" y="315303"/>
                  </a:moveTo>
                  <a:lnTo>
                    <a:pt x="524168" y="630606"/>
                  </a:lnTo>
                  <a:lnTo>
                    <a:pt x="203200" y="630606"/>
                  </a:lnTo>
                  <a:lnTo>
                    <a:pt x="0" y="315303"/>
                  </a:lnTo>
                  <a:lnTo>
                    <a:pt x="203200" y="0"/>
                  </a:lnTo>
                  <a:lnTo>
                    <a:pt x="524168" y="0"/>
                  </a:lnTo>
                  <a:lnTo>
                    <a:pt x="727368" y="315303"/>
                  </a:lnTo>
                  <a:close/>
                </a:path>
              </a:pathLst>
            </a:custGeom>
            <a:blipFill dpi="0" rotWithShape="1">
              <a:blip r:embed="rId4"/>
              <a:srcRect/>
              <a:stretch>
                <a:fillRect l="-1000" t="2000" r="-1000" b="2000"/>
              </a:stretch>
            </a:blipFill>
            <a:ln w="142875" cap="sq">
              <a:solidFill>
                <a:srgbClr val="FFFFFF"/>
              </a:solidFill>
              <a:prstDash val="solid"/>
              <a:miter/>
            </a:ln>
          </p:spPr>
        </p:sp>
      </p:grpSp>
      <p:sp>
        <p:nvSpPr>
          <p:cNvPr id="12" name="Freeform 12"/>
          <p:cNvSpPr/>
          <p:nvPr/>
        </p:nvSpPr>
        <p:spPr>
          <a:xfrm rot="-5400000">
            <a:off x="1657861" y="3460846"/>
            <a:ext cx="3100291" cy="3365309"/>
          </a:xfrm>
          <a:custGeom>
            <a:avLst/>
            <a:gdLst/>
            <a:ahLst/>
            <a:cxnLst/>
            <a:rect l="l" t="t" r="r" b="b"/>
            <a:pathLst>
              <a:path w="4650437" h="5047964">
                <a:moveTo>
                  <a:pt x="0" y="0"/>
                </a:moveTo>
                <a:lnTo>
                  <a:pt x="4650437" y="0"/>
                </a:lnTo>
                <a:lnTo>
                  <a:pt x="4650437" y="5047964"/>
                </a:lnTo>
                <a:lnTo>
                  <a:pt x="0" y="504796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grpSp>
        <p:nvGrpSpPr>
          <p:cNvPr id="13" name="Group 13"/>
          <p:cNvGrpSpPr/>
          <p:nvPr/>
        </p:nvGrpSpPr>
        <p:grpSpPr>
          <a:xfrm>
            <a:off x="2045730" y="3634026"/>
            <a:ext cx="2736764" cy="2372695"/>
            <a:chOff x="0" y="0"/>
            <a:chExt cx="727368" cy="630606"/>
          </a:xfrm>
          <a:blipFill>
            <a:blip r:embed="rId5"/>
            <a:stretch>
              <a:fillRect t="-36562" b="-36562"/>
            </a:stretch>
          </a:blipFill>
        </p:grpSpPr>
        <p:sp>
          <p:nvSpPr>
            <p:cNvPr id="14" name="Freeform 14"/>
            <p:cNvSpPr/>
            <p:nvPr/>
          </p:nvSpPr>
          <p:spPr>
            <a:xfrm>
              <a:off x="0" y="0"/>
              <a:ext cx="727368" cy="630606"/>
            </a:xfrm>
            <a:custGeom>
              <a:avLst/>
              <a:gdLst/>
              <a:ahLst/>
              <a:cxnLst/>
              <a:rect l="l" t="t" r="r" b="b"/>
              <a:pathLst>
                <a:path w="727368" h="630606">
                  <a:moveTo>
                    <a:pt x="727368" y="315303"/>
                  </a:moveTo>
                  <a:lnTo>
                    <a:pt x="524168" y="630606"/>
                  </a:lnTo>
                  <a:lnTo>
                    <a:pt x="203200" y="630606"/>
                  </a:lnTo>
                  <a:lnTo>
                    <a:pt x="0" y="315303"/>
                  </a:lnTo>
                  <a:lnTo>
                    <a:pt x="203200" y="0"/>
                  </a:lnTo>
                  <a:lnTo>
                    <a:pt x="524168" y="0"/>
                  </a:lnTo>
                  <a:lnTo>
                    <a:pt x="727368" y="315303"/>
                  </a:lnTo>
                  <a:close/>
                </a:path>
              </a:pathLst>
            </a:custGeom>
            <a:grpFill/>
            <a:ln w="142875" cap="sq">
              <a:solidFill>
                <a:srgbClr val="FFFFFF"/>
              </a:solidFill>
              <a:prstDash val="solid"/>
              <a:miter/>
            </a:ln>
          </p:spPr>
        </p:sp>
      </p:grpSp>
      <p:sp>
        <p:nvSpPr>
          <p:cNvPr id="30" name="TextBox 30"/>
          <p:cNvSpPr txBox="1"/>
          <p:nvPr/>
        </p:nvSpPr>
        <p:spPr>
          <a:xfrm>
            <a:off x="5094143" y="1853230"/>
            <a:ext cx="6450158" cy="4154984"/>
          </a:xfrm>
          <a:prstGeom prst="rect">
            <a:avLst/>
          </a:prstGeom>
        </p:spPr>
        <p:txBody>
          <a:bodyPr wrap="square" lIns="0" tIns="0" rIns="0" bIns="0" rtlCol="0" anchor="t">
            <a:spAutoFit/>
          </a:bodyPr>
          <a:lstStyle/>
          <a:p>
            <a:pPr marL="285750" indent="-285750">
              <a:buFont typeface="Arial"/>
              <a:buChar char="•"/>
            </a:pPr>
            <a:r>
              <a:rPr lang="en-US" sz="1800" b="1" u="sng" dirty="0">
                <a:solidFill>
                  <a:srgbClr val="000000"/>
                </a:solidFill>
                <a:effectLst/>
                <a:latin typeface="Arial" panose="020B0604020202020204" pitchFamily="34" charset="0"/>
                <a:ea typeface="Times New Roman" panose="02020603050405020304" pitchFamily="18" charset="0"/>
              </a:rPr>
              <a:t>SEMI Foundation Update</a:t>
            </a:r>
            <a:r>
              <a:rPr lang="en-US" sz="1800" dirty="0">
                <a:solidFill>
                  <a:srgbClr val="000000"/>
                </a:solidFill>
                <a:effectLst/>
                <a:latin typeface="Arial" panose="020B0604020202020204" pitchFamily="34" charset="0"/>
                <a:ea typeface="Times New Roman" panose="02020603050405020304" pitchFamily="18" charset="0"/>
              </a:rPr>
              <a:t>: </a:t>
            </a:r>
          </a:p>
          <a:p>
            <a:pPr marL="742950" lvl="1" indent="-285750">
              <a:buFont typeface="Arial"/>
              <a:buChar char="•"/>
            </a:pPr>
            <a:r>
              <a:rPr lang="en-US" dirty="0">
                <a:solidFill>
                  <a:srgbClr val="000000"/>
                </a:solidFill>
                <a:effectLst/>
                <a:latin typeface="Arial" panose="020B0604020202020204" pitchFamily="34" charset="0"/>
                <a:ea typeface="Times New Roman" panose="02020603050405020304" pitchFamily="18" charset="0"/>
              </a:rPr>
              <a:t>Patrick Gillen will share the latest developments from the SEMI Foundation and The National Network for Microelectronics Education. </a:t>
            </a:r>
            <a:br>
              <a:rPr lang="en-US" dirty="0">
                <a:solidFill>
                  <a:srgbClr val="000000"/>
                </a:solidFill>
                <a:effectLst/>
                <a:latin typeface="Arial" panose="020B0604020202020204" pitchFamily="34" charset="0"/>
                <a:ea typeface="Times New Roman" panose="02020603050405020304" pitchFamily="18" charset="0"/>
              </a:rPr>
            </a:br>
            <a:endParaRPr lang="en-US" dirty="0">
              <a:solidFill>
                <a:srgbClr val="000000"/>
              </a:solidFill>
              <a:effectLst/>
              <a:latin typeface="Arial" panose="020B0604020202020204" pitchFamily="34" charset="0"/>
              <a:ea typeface="Times New Roman" panose="02020603050405020304" pitchFamily="18" charset="0"/>
            </a:endParaRPr>
          </a:p>
          <a:p>
            <a:pPr marL="285750" indent="-285750">
              <a:buFont typeface="Arial"/>
              <a:buChar char="•"/>
            </a:pPr>
            <a:r>
              <a:rPr lang="en-US" sz="1800" b="1" u="sng" dirty="0">
                <a:solidFill>
                  <a:srgbClr val="000000"/>
                </a:solidFill>
                <a:effectLst/>
                <a:latin typeface="Arial" panose="020B0604020202020204" pitchFamily="34" charset="0"/>
                <a:ea typeface="Times New Roman" panose="02020603050405020304" pitchFamily="18" charset="0"/>
              </a:rPr>
              <a:t>Career Technical Education (CTE) Overview</a:t>
            </a:r>
            <a:r>
              <a:rPr lang="en-US" sz="1800" dirty="0">
                <a:solidFill>
                  <a:srgbClr val="000000"/>
                </a:solidFill>
                <a:effectLst/>
                <a:latin typeface="Arial" panose="020B0604020202020204" pitchFamily="34" charset="0"/>
                <a:ea typeface="Times New Roman" panose="02020603050405020304" pitchFamily="18" charset="0"/>
              </a:rPr>
              <a:t>: </a:t>
            </a:r>
          </a:p>
          <a:p>
            <a:pPr marL="742950" lvl="1" indent="-285750">
              <a:buFont typeface="Arial"/>
              <a:buChar char="•"/>
            </a:pPr>
            <a:r>
              <a:rPr lang="en-US" dirty="0">
                <a:solidFill>
                  <a:srgbClr val="000000"/>
                </a:solidFill>
                <a:effectLst/>
                <a:latin typeface="Arial" panose="020B0604020202020204" pitchFamily="34" charset="0"/>
                <a:ea typeface="Times New Roman" panose="02020603050405020304" pitchFamily="18" charset="0"/>
              </a:rPr>
              <a:t>Brett Doudican, Greene County Career Center, will provide an insightful overview of Career Technical Education (CTE).</a:t>
            </a:r>
            <a:r>
              <a:rPr lang="en-US" sz="2000" b="1" dirty="0">
                <a:solidFill>
                  <a:srgbClr val="242424"/>
                </a:solidFill>
                <a:latin typeface="Aptos" panose="020B0004020202020204" pitchFamily="34" charset="0"/>
                <a:cs typeface="Arial"/>
              </a:rPr>
              <a:t> </a:t>
            </a:r>
          </a:p>
          <a:p>
            <a:pPr lvl="1"/>
            <a:endParaRPr lang="en-US" sz="2000" b="1" dirty="0">
              <a:solidFill>
                <a:srgbClr val="242424"/>
              </a:solidFill>
              <a:latin typeface="Aptos" panose="020B0004020202020204" pitchFamily="34" charset="0"/>
              <a:cs typeface="Arial"/>
            </a:endParaRPr>
          </a:p>
          <a:p>
            <a:pPr marL="285750" indent="-285750">
              <a:buFont typeface="Arial"/>
              <a:buChar char="•"/>
            </a:pPr>
            <a:r>
              <a:rPr lang="en-US" sz="1800" b="1" u="sng" dirty="0">
                <a:solidFill>
                  <a:srgbClr val="000000"/>
                </a:solidFill>
                <a:effectLst/>
                <a:latin typeface="Arial" panose="020B0604020202020204" pitchFamily="34" charset="0"/>
                <a:ea typeface="Times New Roman" panose="02020603050405020304" pitchFamily="18" charset="0"/>
              </a:rPr>
              <a:t>Careers in the Community</a:t>
            </a:r>
            <a:r>
              <a:rPr lang="en-US" sz="1800" dirty="0">
                <a:solidFill>
                  <a:srgbClr val="000000"/>
                </a:solidFill>
                <a:effectLst/>
                <a:latin typeface="Arial" panose="020B0604020202020204" pitchFamily="34" charset="0"/>
                <a:ea typeface="Times New Roman" panose="02020603050405020304" pitchFamily="18" charset="0"/>
              </a:rPr>
              <a:t>: Joy </a:t>
            </a:r>
            <a:r>
              <a:rPr lang="en-US" sz="1800" dirty="0" err="1">
                <a:solidFill>
                  <a:srgbClr val="000000"/>
                </a:solidFill>
                <a:effectLst/>
                <a:latin typeface="Arial" panose="020B0604020202020204" pitchFamily="34" charset="0"/>
                <a:ea typeface="Times New Roman" panose="02020603050405020304" pitchFamily="18" charset="0"/>
              </a:rPr>
              <a:t>Wolfel</a:t>
            </a:r>
            <a:r>
              <a:rPr lang="en-US" sz="1800" dirty="0">
                <a:solidFill>
                  <a:srgbClr val="000000"/>
                </a:solidFill>
                <a:effectLst/>
                <a:latin typeface="Arial" panose="020B0604020202020204" pitchFamily="34" charset="0"/>
                <a:ea typeface="Times New Roman" panose="02020603050405020304" pitchFamily="18" charset="0"/>
              </a:rPr>
              <a:t> and Jen </a:t>
            </a:r>
            <a:r>
              <a:rPr lang="en-US" sz="1800" dirty="0" err="1">
                <a:solidFill>
                  <a:srgbClr val="000000"/>
                </a:solidFill>
                <a:effectLst/>
                <a:latin typeface="Arial" panose="020B0604020202020204" pitchFamily="34" charset="0"/>
                <a:ea typeface="Times New Roman" panose="02020603050405020304" pitchFamily="18" charset="0"/>
              </a:rPr>
              <a:t>Bernett</a:t>
            </a:r>
            <a:r>
              <a:rPr lang="en-US" sz="1800" dirty="0">
                <a:solidFill>
                  <a:srgbClr val="000000"/>
                </a:solidFill>
                <a:effectLst/>
                <a:latin typeface="Arial" panose="020B0604020202020204" pitchFamily="34" charset="0"/>
                <a:ea typeface="Times New Roman" panose="02020603050405020304" pitchFamily="18" charset="0"/>
              </a:rPr>
              <a:t>, Mid-East CTC, will introduce an inspiring elementary-level program designed to ignite students’ curiosity about future careers. </a:t>
            </a:r>
            <a:endParaRPr lang="en-US" sz="2000" b="1" dirty="0">
              <a:solidFill>
                <a:srgbClr val="242424"/>
              </a:solidFill>
              <a:latin typeface="Aptos" panose="020B0004020202020204" pitchFamily="34" charset="0"/>
              <a:cs typeface="Arial"/>
            </a:endParaRPr>
          </a:p>
          <a:p>
            <a:pPr marL="285750" indent="-285750">
              <a:buFont typeface="Arial"/>
              <a:buChar char="•"/>
            </a:pPr>
            <a:endParaRPr lang="en-US" sz="1400" b="1" dirty="0">
              <a:solidFill>
                <a:srgbClr val="1D1A1B"/>
              </a:solidFill>
              <a:latin typeface="Aptos" panose="020B0004020202020204" pitchFamily="34" charset="0"/>
              <a:ea typeface="Public Sans Bold"/>
              <a:cs typeface="Public Sans Bold"/>
            </a:endParaRPr>
          </a:p>
        </p:txBody>
      </p:sp>
      <p:grpSp>
        <p:nvGrpSpPr>
          <p:cNvPr id="34" name="Group 34"/>
          <p:cNvGrpSpPr/>
          <p:nvPr/>
        </p:nvGrpSpPr>
        <p:grpSpPr>
          <a:xfrm>
            <a:off x="9709369" y="-984801"/>
            <a:ext cx="3593663" cy="1988251"/>
            <a:chOff x="0" y="0"/>
            <a:chExt cx="7187325" cy="3976501"/>
          </a:xfrm>
        </p:grpSpPr>
        <p:grpSp>
          <p:nvGrpSpPr>
            <p:cNvPr id="35" name="Group 35"/>
            <p:cNvGrpSpPr/>
            <p:nvPr/>
          </p:nvGrpSpPr>
          <p:grpSpPr>
            <a:xfrm rot="-10800000">
              <a:off x="0" y="0"/>
              <a:ext cx="7187325" cy="3262226"/>
              <a:chOff x="0" y="0"/>
              <a:chExt cx="1239720" cy="562692"/>
            </a:xfrm>
          </p:grpSpPr>
          <p:sp>
            <p:nvSpPr>
              <p:cNvPr id="36" name="Freeform 36"/>
              <p:cNvSpPr/>
              <p:nvPr/>
            </p:nvSpPr>
            <p:spPr>
              <a:xfrm>
                <a:off x="0" y="0"/>
                <a:ext cx="1239720" cy="562692"/>
              </a:xfrm>
              <a:custGeom>
                <a:avLst/>
                <a:gdLst/>
                <a:ahLst/>
                <a:cxnLst/>
                <a:rect l="l" t="t" r="r" b="b"/>
                <a:pathLst>
                  <a:path w="1239720" h="562692">
                    <a:moveTo>
                      <a:pt x="1239720" y="281346"/>
                    </a:moveTo>
                    <a:lnTo>
                      <a:pt x="1036520" y="562692"/>
                    </a:lnTo>
                    <a:lnTo>
                      <a:pt x="203200" y="562692"/>
                    </a:lnTo>
                    <a:lnTo>
                      <a:pt x="0" y="281346"/>
                    </a:lnTo>
                    <a:lnTo>
                      <a:pt x="203200" y="0"/>
                    </a:lnTo>
                    <a:lnTo>
                      <a:pt x="1036520" y="0"/>
                    </a:lnTo>
                    <a:lnTo>
                      <a:pt x="1239720" y="281346"/>
                    </a:lnTo>
                    <a:close/>
                  </a:path>
                </a:pathLst>
              </a:custGeom>
              <a:solidFill>
                <a:srgbClr val="A10D00"/>
              </a:solidFill>
            </p:spPr>
          </p:sp>
          <p:sp>
            <p:nvSpPr>
              <p:cNvPr id="37" name="TextBox 37"/>
              <p:cNvSpPr txBox="1"/>
              <p:nvPr/>
            </p:nvSpPr>
            <p:spPr>
              <a:xfrm>
                <a:off x="114300" y="-57150"/>
                <a:ext cx="1011120" cy="619842"/>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grpSp>
          <p:nvGrpSpPr>
            <p:cNvPr id="38" name="Group 38"/>
            <p:cNvGrpSpPr/>
            <p:nvPr/>
          </p:nvGrpSpPr>
          <p:grpSpPr>
            <a:xfrm rot="-10800000">
              <a:off x="2511062" y="2547952"/>
              <a:ext cx="3673400" cy="1428550"/>
              <a:chOff x="0" y="0"/>
              <a:chExt cx="1643297" cy="639062"/>
            </a:xfrm>
          </p:grpSpPr>
          <p:sp>
            <p:nvSpPr>
              <p:cNvPr id="39" name="Freeform 39"/>
              <p:cNvSpPr/>
              <p:nvPr/>
            </p:nvSpPr>
            <p:spPr>
              <a:xfrm>
                <a:off x="0" y="0"/>
                <a:ext cx="1643297" cy="639062"/>
              </a:xfrm>
              <a:custGeom>
                <a:avLst/>
                <a:gdLst/>
                <a:ahLst/>
                <a:cxnLst/>
                <a:rect l="l" t="t" r="r" b="b"/>
                <a:pathLst>
                  <a:path w="1643297" h="639062">
                    <a:moveTo>
                      <a:pt x="1643297" y="319531"/>
                    </a:moveTo>
                    <a:lnTo>
                      <a:pt x="1440097" y="639062"/>
                    </a:lnTo>
                    <a:lnTo>
                      <a:pt x="203200" y="639062"/>
                    </a:lnTo>
                    <a:lnTo>
                      <a:pt x="0" y="319531"/>
                    </a:lnTo>
                    <a:lnTo>
                      <a:pt x="203200" y="0"/>
                    </a:lnTo>
                    <a:lnTo>
                      <a:pt x="1440097" y="0"/>
                    </a:lnTo>
                    <a:lnTo>
                      <a:pt x="1643297" y="319531"/>
                    </a:lnTo>
                    <a:close/>
                  </a:path>
                </a:pathLst>
              </a:custGeom>
              <a:solidFill>
                <a:srgbClr val="B51F19"/>
              </a:solidFill>
              <a:ln w="57150" cap="sq">
                <a:solidFill>
                  <a:srgbClr val="FFFFFF"/>
                </a:solidFill>
                <a:prstDash val="solid"/>
                <a:miter/>
              </a:ln>
            </p:spPr>
          </p:sp>
          <p:sp>
            <p:nvSpPr>
              <p:cNvPr id="40" name="TextBox 40"/>
              <p:cNvSpPr txBox="1"/>
              <p:nvPr/>
            </p:nvSpPr>
            <p:spPr>
              <a:xfrm>
                <a:off x="114300" y="-57150"/>
                <a:ext cx="1414697" cy="696212"/>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grpSp>
      <p:sp>
        <p:nvSpPr>
          <p:cNvPr id="41" name="Freeform 41"/>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6">
              <a:extLst>
                <a:ext uri="{96DAC541-7B7A-43D3-8B79-37D633B846F1}">
                  <asvg:svgBlip xmlns:asvg="http://schemas.microsoft.com/office/drawing/2016/SVG/main" r:embed="rId7"/>
                </a:ext>
              </a:extLst>
            </a:blip>
            <a:stretch>
              <a:fillRect t="-23484"/>
            </a:stretch>
          </a:blipFill>
        </p:spPr>
      </p:sp>
      <p:sp>
        <p:nvSpPr>
          <p:cNvPr id="42" name="Freeform 42"/>
          <p:cNvSpPr/>
          <p:nvPr/>
        </p:nvSpPr>
        <p:spPr>
          <a:xfrm>
            <a:off x="389215" y="6593323"/>
            <a:ext cx="881039" cy="349108"/>
          </a:xfrm>
          <a:custGeom>
            <a:avLst/>
            <a:gdLst/>
            <a:ahLst/>
            <a:cxnLst/>
            <a:rect l="l" t="t" r="r" b="b"/>
            <a:pathLst>
              <a:path w="1321559" h="523662">
                <a:moveTo>
                  <a:pt x="0" y="0"/>
                </a:moveTo>
                <a:lnTo>
                  <a:pt x="1321558" y="0"/>
                </a:lnTo>
                <a:lnTo>
                  <a:pt x="1321558" y="523662"/>
                </a:lnTo>
                <a:lnTo>
                  <a:pt x="0" y="523662"/>
                </a:lnTo>
                <a:lnTo>
                  <a:pt x="0" y="0"/>
                </a:lnTo>
                <a:close/>
              </a:path>
            </a:pathLst>
          </a:custGeom>
          <a:blipFill>
            <a:blip r:embed="rId8">
              <a:extLst>
                <a:ext uri="{96DAC541-7B7A-43D3-8B79-37D633B846F1}">
                  <asvg:svgBlip xmlns:asvg="http://schemas.microsoft.com/office/drawing/2016/SVG/main" r:embed="rId9"/>
                </a:ext>
              </a:extLst>
            </a:blip>
            <a:stretch>
              <a:fillRect t="-20273" r="-21421"/>
            </a:stretch>
          </a:blipFill>
        </p:spPr>
      </p:sp>
      <p:sp>
        <p:nvSpPr>
          <p:cNvPr id="43" name="Freeform 43"/>
          <p:cNvSpPr/>
          <p:nvPr/>
        </p:nvSpPr>
        <p:spPr>
          <a:xfrm>
            <a:off x="1596111" y="213997"/>
            <a:ext cx="1022096" cy="192921"/>
          </a:xfrm>
          <a:custGeom>
            <a:avLst/>
            <a:gdLst/>
            <a:ahLst/>
            <a:cxnLst/>
            <a:rect l="l" t="t" r="r" b="b"/>
            <a:pathLst>
              <a:path w="1533144" h="289381">
                <a:moveTo>
                  <a:pt x="0" y="0"/>
                </a:moveTo>
                <a:lnTo>
                  <a:pt x="1533144" y="0"/>
                </a:lnTo>
                <a:lnTo>
                  <a:pt x="1533144" y="289381"/>
                </a:lnTo>
                <a:lnTo>
                  <a:pt x="0" y="289381"/>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4" name="Freeform 44"/>
          <p:cNvSpPr/>
          <p:nvPr/>
        </p:nvSpPr>
        <p:spPr>
          <a:xfrm>
            <a:off x="11025187" y="-1354798"/>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45" name="Freeform 45"/>
          <p:cNvSpPr/>
          <p:nvPr/>
        </p:nvSpPr>
        <p:spPr>
          <a:xfrm>
            <a:off x="6096000"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4">
              <a:extLst>
                <a:ext uri="{96DAC541-7B7A-43D3-8B79-37D633B846F1}">
                  <asvg:svgBlip xmlns:asvg="http://schemas.microsoft.com/office/drawing/2016/SVG/main" r:embed="rId15"/>
                </a:ext>
              </a:extLst>
            </a:blip>
            <a:stretch>
              <a:fillRect t="-561128"/>
            </a:stretch>
          </a:blipFill>
        </p:spPr>
      </p:sp>
      <p:sp>
        <p:nvSpPr>
          <p:cNvPr id="46" name="Freeform 46"/>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6">
              <a:extLst>
                <a:ext uri="{96DAC541-7B7A-43D3-8B79-37D633B846F1}">
                  <asvg:svgBlip xmlns:asvg="http://schemas.microsoft.com/office/drawing/2016/SVG/main" r:embed="rId17"/>
                </a:ext>
              </a:extLst>
            </a:blip>
            <a:stretch>
              <a:fillRect/>
            </a:stretch>
          </a:blipFill>
        </p:spPr>
      </p:sp>
      <p:pic>
        <p:nvPicPr>
          <p:cNvPr id="29" name="Picture 28">
            <a:extLst>
              <a:ext uri="{FF2B5EF4-FFF2-40B4-BE49-F238E27FC236}">
                <a16:creationId xmlns:a16="http://schemas.microsoft.com/office/drawing/2014/main" id="{20D19F3C-A2CC-40EA-BD1B-06E287B4C40D}"/>
              </a:ext>
            </a:extLst>
          </p:cNvPr>
          <p:cNvPicPr>
            <a:picLocks noChangeAspect="1"/>
          </p:cNvPicPr>
          <p:nvPr/>
        </p:nvPicPr>
        <p:blipFill>
          <a:blip r:embed="rId18">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5357517" y="139240"/>
            <a:ext cx="2405750" cy="642213"/>
          </a:xfrm>
          <a:prstGeom prst="rect">
            <a:avLst/>
          </a:prstGeom>
        </p:spPr>
      </p:pic>
      <p:sp>
        <p:nvSpPr>
          <p:cNvPr id="2" name="TextBox 1">
            <a:extLst>
              <a:ext uri="{FF2B5EF4-FFF2-40B4-BE49-F238E27FC236}">
                <a16:creationId xmlns:a16="http://schemas.microsoft.com/office/drawing/2014/main" id="{FCE859CA-2A23-43EE-BE04-ABA4260765E9}"/>
              </a:ext>
            </a:extLst>
          </p:cNvPr>
          <p:cNvSpPr txBox="1"/>
          <p:nvPr/>
        </p:nvSpPr>
        <p:spPr>
          <a:xfrm>
            <a:off x="5012284" y="1234543"/>
            <a:ext cx="5227784" cy="461665"/>
          </a:xfrm>
          <a:prstGeom prst="rect">
            <a:avLst/>
          </a:prstGeom>
          <a:noFill/>
        </p:spPr>
        <p:txBody>
          <a:bodyPr wrap="square" rtlCol="0">
            <a:spAutoFit/>
          </a:bodyPr>
          <a:lstStyle/>
          <a:p>
            <a:r>
              <a:rPr lang="en-US" sz="2400" b="1" dirty="0"/>
              <a:t>TODAY’S AGENDA</a:t>
            </a:r>
          </a:p>
        </p:txBody>
      </p:sp>
    </p:spTree>
    <p:extLst>
      <p:ext uri="{BB962C8B-B14F-4D97-AF65-F5344CB8AC3E}">
        <p14:creationId xmlns:p14="http://schemas.microsoft.com/office/powerpoint/2010/main" val="28353114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9259" b="-9259"/>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3" name="Group 3"/>
          <p:cNvGrpSpPr/>
          <p:nvPr/>
        </p:nvGrpSpPr>
        <p:grpSpPr>
          <a:xfrm rot="19798687">
            <a:off x="5296275" y="1537305"/>
            <a:ext cx="1069068" cy="6368139"/>
            <a:chOff x="0" y="0"/>
            <a:chExt cx="422348" cy="2515808"/>
          </a:xfrm>
        </p:grpSpPr>
        <p:sp>
          <p:nvSpPr>
            <p:cNvPr id="4" name="Freeform 4"/>
            <p:cNvSpPr/>
            <p:nvPr/>
          </p:nvSpPr>
          <p:spPr>
            <a:xfrm>
              <a:off x="0" y="0"/>
              <a:ext cx="422348" cy="2515808"/>
            </a:xfrm>
            <a:custGeom>
              <a:avLst/>
              <a:gdLst/>
              <a:ahLst/>
              <a:cxnLst/>
              <a:rect l="l" t="t" r="r" b="b"/>
              <a:pathLst>
                <a:path w="422348" h="2515808">
                  <a:moveTo>
                    <a:pt x="0" y="0"/>
                  </a:moveTo>
                  <a:lnTo>
                    <a:pt x="422348" y="0"/>
                  </a:lnTo>
                  <a:lnTo>
                    <a:pt x="422348" y="2515808"/>
                  </a:lnTo>
                  <a:lnTo>
                    <a:pt x="0" y="2515808"/>
                  </a:lnTo>
                  <a:close/>
                </a:path>
              </a:pathLst>
            </a:custGeom>
            <a:solidFill>
              <a:srgbClr val="005AB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5" name="TextBox 5"/>
            <p:cNvSpPr txBox="1"/>
            <p:nvPr/>
          </p:nvSpPr>
          <p:spPr>
            <a:xfrm>
              <a:off x="0" y="-76200"/>
              <a:ext cx="422348" cy="259200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grpSp>
        <p:nvGrpSpPr>
          <p:cNvPr id="6" name="Group 6"/>
          <p:cNvGrpSpPr/>
          <p:nvPr/>
        </p:nvGrpSpPr>
        <p:grpSpPr>
          <a:xfrm rot="1323218">
            <a:off x="-173529" y="-1666627"/>
            <a:ext cx="6219539" cy="9267285"/>
            <a:chOff x="0" y="0"/>
            <a:chExt cx="640025" cy="953655"/>
          </a:xfrm>
        </p:grpSpPr>
        <p:sp>
          <p:nvSpPr>
            <p:cNvPr id="7" name="Freeform 7"/>
            <p:cNvSpPr/>
            <p:nvPr/>
          </p:nvSpPr>
          <p:spPr>
            <a:xfrm>
              <a:off x="0" y="0"/>
              <a:ext cx="640025" cy="953655"/>
            </a:xfrm>
            <a:custGeom>
              <a:avLst/>
              <a:gdLst/>
              <a:ahLst/>
              <a:cxnLst/>
              <a:rect l="l" t="t" r="r" b="b"/>
              <a:pathLst>
                <a:path w="640025" h="953655">
                  <a:moveTo>
                    <a:pt x="203200" y="0"/>
                  </a:moveTo>
                  <a:lnTo>
                    <a:pt x="640025" y="0"/>
                  </a:lnTo>
                  <a:lnTo>
                    <a:pt x="436825" y="953655"/>
                  </a:lnTo>
                  <a:lnTo>
                    <a:pt x="0" y="953655"/>
                  </a:lnTo>
                  <a:lnTo>
                    <a:pt x="203200" y="0"/>
                  </a:lnTo>
                  <a:close/>
                </a:path>
              </a:pathLst>
            </a:custGeom>
            <a:solidFill>
              <a:srgbClr val="BED60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8" name="TextBox 8"/>
            <p:cNvSpPr txBox="1"/>
            <p:nvPr/>
          </p:nvSpPr>
          <p:spPr>
            <a:xfrm>
              <a:off x="101600" y="-76200"/>
              <a:ext cx="436825" cy="1029855"/>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9" name="Freeform 9"/>
          <p:cNvSpPr/>
          <p:nvPr/>
        </p:nvSpPr>
        <p:spPr>
          <a:xfrm rot="14365192">
            <a:off x="-363781" y="3235516"/>
            <a:ext cx="10820400" cy="513969"/>
          </a:xfrm>
          <a:custGeom>
            <a:avLst/>
            <a:gdLst/>
            <a:ahLst/>
            <a:cxnLst/>
            <a:rect l="l" t="t" r="r" b="b"/>
            <a:pathLst>
              <a:path w="16230600" h="770953">
                <a:moveTo>
                  <a:pt x="0" y="0"/>
                </a:moveTo>
                <a:lnTo>
                  <a:pt x="16230600" y="0"/>
                </a:lnTo>
                <a:lnTo>
                  <a:pt x="16230600" y="770954"/>
                </a:lnTo>
                <a:lnTo>
                  <a:pt x="0" y="770954"/>
                </a:lnTo>
                <a:lnTo>
                  <a:pt x="0" y="0"/>
                </a:lnTo>
                <a:close/>
              </a:path>
            </a:pathLst>
          </a:custGeom>
          <a:blipFill>
            <a:blip r:embed="rId4">
              <a:alphaModFix amt="52000"/>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10" name="Group 10"/>
          <p:cNvGrpSpPr/>
          <p:nvPr/>
        </p:nvGrpSpPr>
        <p:grpSpPr>
          <a:xfrm>
            <a:off x="0" y="-73884"/>
            <a:ext cx="6894410" cy="7005768"/>
            <a:chOff x="0" y="0"/>
            <a:chExt cx="5765800" cy="5858929"/>
          </a:xfrm>
        </p:grpSpPr>
        <p:sp>
          <p:nvSpPr>
            <p:cNvPr id="11" name="Freeform 11"/>
            <p:cNvSpPr/>
            <p:nvPr/>
          </p:nvSpPr>
          <p:spPr>
            <a:xfrm>
              <a:off x="0" y="0"/>
              <a:ext cx="5765800" cy="5858891"/>
            </a:xfrm>
            <a:custGeom>
              <a:avLst/>
              <a:gdLst/>
              <a:ahLst/>
              <a:cxnLst/>
              <a:rect l="l" t="t" r="r" b="b"/>
              <a:pathLst>
                <a:path w="5765800" h="5858891">
                  <a:moveTo>
                    <a:pt x="0" y="0"/>
                  </a:moveTo>
                  <a:lnTo>
                    <a:pt x="0" y="5858891"/>
                  </a:lnTo>
                  <a:lnTo>
                    <a:pt x="5765800" y="5858891"/>
                  </a:lnTo>
                  <a:lnTo>
                    <a:pt x="2235200" y="0"/>
                  </a:lnTo>
                  <a:close/>
                </a:path>
              </a:pathLst>
            </a:custGeom>
            <a:blipFill>
              <a:blip r:embed="rId5"/>
              <a:stretch>
                <a:fillRect l="-48185" r="-3246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grpSp>
        <p:nvGrpSpPr>
          <p:cNvPr id="12" name="Group 12"/>
          <p:cNvGrpSpPr/>
          <p:nvPr/>
        </p:nvGrpSpPr>
        <p:grpSpPr>
          <a:xfrm rot="19798687">
            <a:off x="-808517" y="2957874"/>
            <a:ext cx="1373832" cy="5259582"/>
            <a:chOff x="0" y="0"/>
            <a:chExt cx="542748" cy="2077860"/>
          </a:xfrm>
        </p:grpSpPr>
        <p:sp>
          <p:nvSpPr>
            <p:cNvPr id="13" name="Freeform 13"/>
            <p:cNvSpPr/>
            <p:nvPr/>
          </p:nvSpPr>
          <p:spPr>
            <a:xfrm>
              <a:off x="0" y="0"/>
              <a:ext cx="542748" cy="2077860"/>
            </a:xfrm>
            <a:custGeom>
              <a:avLst/>
              <a:gdLst/>
              <a:ahLst/>
              <a:cxnLst/>
              <a:rect l="l" t="t" r="r" b="b"/>
              <a:pathLst>
                <a:path w="542748" h="2077860">
                  <a:moveTo>
                    <a:pt x="0" y="0"/>
                  </a:moveTo>
                  <a:lnTo>
                    <a:pt x="542748" y="0"/>
                  </a:lnTo>
                  <a:lnTo>
                    <a:pt x="542748" y="2077860"/>
                  </a:lnTo>
                  <a:lnTo>
                    <a:pt x="0" y="2077860"/>
                  </a:lnTo>
                  <a:close/>
                </a:path>
              </a:pathLst>
            </a:custGeom>
            <a:solidFill>
              <a:srgbClr val="BED60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14" name="TextBox 14"/>
            <p:cNvSpPr txBox="1"/>
            <p:nvPr/>
          </p:nvSpPr>
          <p:spPr>
            <a:xfrm>
              <a:off x="0" y="-76200"/>
              <a:ext cx="542748" cy="215406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5" name="Freeform 15"/>
          <p:cNvSpPr/>
          <p:nvPr/>
        </p:nvSpPr>
        <p:spPr>
          <a:xfrm rot="18468584">
            <a:off x="-2720436" y="1413430"/>
            <a:ext cx="8190527" cy="389050"/>
          </a:xfrm>
          <a:custGeom>
            <a:avLst/>
            <a:gdLst/>
            <a:ahLst/>
            <a:cxnLst/>
            <a:rect l="l" t="t" r="r" b="b"/>
            <a:pathLst>
              <a:path w="12285790" h="583575">
                <a:moveTo>
                  <a:pt x="0" y="0"/>
                </a:moveTo>
                <a:lnTo>
                  <a:pt x="12285790" y="0"/>
                </a:lnTo>
                <a:lnTo>
                  <a:pt x="12285790" y="583575"/>
                </a:lnTo>
                <a:lnTo>
                  <a:pt x="0" y="583575"/>
                </a:lnTo>
                <a:lnTo>
                  <a:pt x="0" y="0"/>
                </a:lnTo>
                <a:close/>
              </a:path>
            </a:pathLst>
          </a:custGeom>
          <a:blipFill>
            <a:blip r:embed="rId4">
              <a:alphaModFix amt="65000"/>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16" name="Group 16"/>
          <p:cNvGrpSpPr/>
          <p:nvPr/>
        </p:nvGrpSpPr>
        <p:grpSpPr>
          <a:xfrm rot="2252587">
            <a:off x="-736838" y="-1492963"/>
            <a:ext cx="2057400" cy="5230562"/>
            <a:chOff x="0" y="0"/>
            <a:chExt cx="812800" cy="2066395"/>
          </a:xfrm>
        </p:grpSpPr>
        <p:sp>
          <p:nvSpPr>
            <p:cNvPr id="17" name="Freeform 17"/>
            <p:cNvSpPr/>
            <p:nvPr/>
          </p:nvSpPr>
          <p:spPr>
            <a:xfrm>
              <a:off x="0" y="0"/>
              <a:ext cx="812800" cy="2066395"/>
            </a:xfrm>
            <a:custGeom>
              <a:avLst/>
              <a:gdLst/>
              <a:ahLst/>
              <a:cxnLst/>
              <a:rect l="l" t="t" r="r" b="b"/>
              <a:pathLst>
                <a:path w="812800" h="2066395">
                  <a:moveTo>
                    <a:pt x="0" y="0"/>
                  </a:moveTo>
                  <a:lnTo>
                    <a:pt x="812800" y="0"/>
                  </a:lnTo>
                  <a:lnTo>
                    <a:pt x="812800" y="2066395"/>
                  </a:lnTo>
                  <a:lnTo>
                    <a:pt x="0" y="2066395"/>
                  </a:lnTo>
                  <a:close/>
                </a:path>
              </a:pathLst>
            </a:custGeom>
            <a:solidFill>
              <a:srgbClr val="005AB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18" name="TextBox 18"/>
            <p:cNvSpPr txBox="1"/>
            <p:nvPr/>
          </p:nvSpPr>
          <p:spPr>
            <a:xfrm>
              <a:off x="0" y="-76200"/>
              <a:ext cx="812800" cy="2142595"/>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9" name="Freeform 19"/>
          <p:cNvSpPr/>
          <p:nvPr/>
        </p:nvSpPr>
        <p:spPr>
          <a:xfrm>
            <a:off x="8175567" y="134024"/>
            <a:ext cx="2235344" cy="440549"/>
          </a:xfrm>
          <a:custGeom>
            <a:avLst/>
            <a:gdLst/>
            <a:ahLst/>
            <a:cxnLst/>
            <a:rect l="l" t="t" r="r" b="b"/>
            <a:pathLst>
              <a:path w="3353016" h="660824">
                <a:moveTo>
                  <a:pt x="0" y="0"/>
                </a:moveTo>
                <a:lnTo>
                  <a:pt x="3353015" y="0"/>
                </a:lnTo>
                <a:lnTo>
                  <a:pt x="3353015" y="660824"/>
                </a:lnTo>
                <a:lnTo>
                  <a:pt x="0" y="660824"/>
                </a:lnTo>
                <a:lnTo>
                  <a:pt x="0" y="0"/>
                </a:lnTo>
                <a:close/>
              </a:path>
            </a:pathLst>
          </a:custGeom>
          <a:blipFill>
            <a:blip r:embed="rId6"/>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20" name="TextBox 20"/>
          <p:cNvSpPr txBox="1"/>
          <p:nvPr/>
        </p:nvSpPr>
        <p:spPr>
          <a:xfrm>
            <a:off x="6577276" y="1828539"/>
            <a:ext cx="5218760" cy="320087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Bold"/>
              </a:rPr>
              <a:t>The National Network for</a:t>
            </a:r>
            <a:endParaRPr kumimoji="0" lang="en-US" sz="3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Microelectronics Education</a:t>
            </a:r>
          </a:p>
          <a:p>
            <a:pPr marL="0" marR="0" lvl="0" indent="0" algn="r" defTabSz="609539"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April 30, 2025</a:t>
            </a:r>
          </a:p>
          <a:p>
            <a:pPr marL="0" marR="0" lvl="0" indent="0" algn="r" defTabSz="609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Patrick Gillen</a:t>
            </a:r>
          </a:p>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Program Manager, WFD &amp; Special Projects</a:t>
            </a:r>
          </a:p>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EMI Foundation</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pgillen@semi.or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grpSp>
        <p:nvGrpSpPr>
          <p:cNvPr id="9" name="Group 9"/>
          <p:cNvGrpSpPr/>
          <p:nvPr/>
        </p:nvGrpSpPr>
        <p:grpSpPr>
          <a:xfrm>
            <a:off x="-1071087" y="885515"/>
            <a:ext cx="7167087" cy="1000958"/>
            <a:chOff x="0" y="0"/>
            <a:chExt cx="2831442" cy="395440"/>
          </a:xfrm>
        </p:grpSpPr>
        <p:sp>
          <p:nvSpPr>
            <p:cNvPr id="10" name="Freeform 10"/>
            <p:cNvSpPr/>
            <p:nvPr/>
          </p:nvSpPr>
          <p:spPr>
            <a:xfrm>
              <a:off x="0" y="0"/>
              <a:ext cx="2831442" cy="395440"/>
            </a:xfrm>
            <a:custGeom>
              <a:avLst/>
              <a:gdLst/>
              <a:ahLst/>
              <a:cxnLst/>
              <a:rect l="l" t="t" r="r" b="b"/>
              <a:pathLst>
                <a:path w="2831442" h="395440">
                  <a:moveTo>
                    <a:pt x="65532" y="0"/>
                  </a:moveTo>
                  <a:lnTo>
                    <a:pt x="2765909" y="0"/>
                  </a:lnTo>
                  <a:cubicBezTo>
                    <a:pt x="2802102" y="0"/>
                    <a:pt x="2831442" y="29340"/>
                    <a:pt x="2831442" y="65532"/>
                  </a:cubicBezTo>
                  <a:lnTo>
                    <a:pt x="2831442" y="329908"/>
                  </a:lnTo>
                  <a:cubicBezTo>
                    <a:pt x="2831442" y="366100"/>
                    <a:pt x="2802102" y="395440"/>
                    <a:pt x="2765909" y="395440"/>
                  </a:cubicBezTo>
                  <a:lnTo>
                    <a:pt x="65532" y="395440"/>
                  </a:lnTo>
                  <a:cubicBezTo>
                    <a:pt x="48152" y="395440"/>
                    <a:pt x="31484" y="388536"/>
                    <a:pt x="19194" y="376246"/>
                  </a:cubicBezTo>
                  <a:cubicBezTo>
                    <a:pt x="6904" y="363956"/>
                    <a:pt x="0" y="347288"/>
                    <a:pt x="0" y="329908"/>
                  </a:cubicBezTo>
                  <a:lnTo>
                    <a:pt x="0" y="65532"/>
                  </a:lnTo>
                  <a:cubicBezTo>
                    <a:pt x="0" y="48152"/>
                    <a:pt x="6904" y="31484"/>
                    <a:pt x="19194" y="19194"/>
                  </a:cubicBezTo>
                  <a:cubicBezTo>
                    <a:pt x="31484" y="6904"/>
                    <a:pt x="48152" y="0"/>
                    <a:pt x="65532" y="0"/>
                  </a:cubicBez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11" name="TextBox 11"/>
            <p:cNvSpPr txBox="1"/>
            <p:nvPr/>
          </p:nvSpPr>
          <p:spPr>
            <a:xfrm>
              <a:off x="0" y="-76200"/>
              <a:ext cx="2831442" cy="47164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16" name="TextBox 16"/>
          <p:cNvSpPr txBox="1"/>
          <p:nvPr/>
        </p:nvSpPr>
        <p:spPr>
          <a:xfrm>
            <a:off x="685800" y="1193184"/>
            <a:ext cx="4934816" cy="38561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ts val="3199"/>
              </a:lnSpc>
              <a:spcBef>
                <a:spcPts val="0"/>
              </a:spcBef>
              <a:spcAft>
                <a:spcPts val="0"/>
              </a:spcAft>
              <a:buClrTx/>
              <a:buSzTx/>
              <a:buFontTx/>
              <a:buNone/>
              <a:tabLst/>
              <a:defRPr/>
            </a:pPr>
            <a:r>
              <a:rPr kumimoji="0" lang="en-US" sz="2666" b="1" i="0" u="none" strike="noStrike" kern="1200" cap="none" spc="0" normalizeH="0" baseline="0" noProof="0" dirty="0">
                <a:ln>
                  <a:noFill/>
                </a:ln>
                <a:solidFill>
                  <a:srgbClr val="FFFFFF"/>
                </a:solidFill>
                <a:effectLst/>
                <a:uLnTx/>
                <a:uFillTx/>
                <a:latin typeface="Arial Bold"/>
                <a:ea typeface="Arial Bold"/>
                <a:cs typeface="Arial Bold"/>
                <a:sym typeface="Arial Bold"/>
              </a:rPr>
              <a:t>SEMI and SEMI Foundation</a:t>
            </a:r>
          </a:p>
        </p:txBody>
      </p:sp>
      <p:sp>
        <p:nvSpPr>
          <p:cNvPr id="18" name="TextBox 18"/>
          <p:cNvSpPr txBox="1"/>
          <p:nvPr/>
        </p:nvSpPr>
        <p:spPr>
          <a:xfrm>
            <a:off x="1129146" y="2293552"/>
            <a:ext cx="2477814" cy="290678"/>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ts val="2239"/>
              </a:lnSpc>
              <a:spcBef>
                <a:spcPct val="0"/>
              </a:spcBef>
              <a:spcAft>
                <a:spcPts val="0"/>
              </a:spcAft>
              <a:buClrTx/>
              <a:buSzTx/>
              <a:buFontTx/>
              <a:buNone/>
              <a:tabLst/>
              <a:defRPr/>
            </a:pPr>
            <a:r>
              <a:rPr kumimoji="0" lang="en-US" sz="2133" b="1" i="0" u="none" strike="noStrike" kern="1200" cap="none" spc="0" normalizeH="0" baseline="0" noProof="0" dirty="0">
                <a:ln>
                  <a:noFill/>
                </a:ln>
                <a:solidFill>
                  <a:prstClr val="black">
                    <a:lumMod val="65000"/>
                    <a:lumOff val="35000"/>
                  </a:prstClr>
                </a:solidFill>
                <a:effectLst/>
                <a:uLnTx/>
                <a:uFillTx/>
                <a:latin typeface="Arial Bold"/>
                <a:ea typeface="Arial Bold"/>
                <a:cs typeface="Arial Bold"/>
                <a:sym typeface="Arial Bold"/>
              </a:rPr>
              <a:t>SEMI</a:t>
            </a:r>
          </a:p>
        </p:txBody>
      </p:sp>
      <p:sp>
        <p:nvSpPr>
          <p:cNvPr id="21" name="Freeform 3">
            <a:extLst>
              <a:ext uri="{FF2B5EF4-FFF2-40B4-BE49-F238E27FC236}">
                <a16:creationId xmlns:a16="http://schemas.microsoft.com/office/drawing/2014/main" id="{7C88BFDE-AF1E-4CB4-40C9-B4193EFF5383}"/>
              </a:ext>
            </a:extLst>
          </p:cNvPr>
          <p:cNvSpPr/>
          <p:nvPr/>
        </p:nvSpPr>
        <p:spPr>
          <a:xfrm flipH="1">
            <a:off x="10480370" y="-511305"/>
            <a:ext cx="2560418" cy="3341492"/>
          </a:xfrm>
          <a:custGeom>
            <a:avLst/>
            <a:gdLst/>
            <a:ahLst/>
            <a:cxnLst/>
            <a:rect l="l" t="t" r="r" b="b"/>
            <a:pathLst>
              <a:path w="3840627" h="5012238">
                <a:moveTo>
                  <a:pt x="3840627" y="0"/>
                </a:moveTo>
                <a:lnTo>
                  <a:pt x="0" y="0"/>
                </a:lnTo>
                <a:lnTo>
                  <a:pt x="0" y="5012238"/>
                </a:lnTo>
                <a:lnTo>
                  <a:pt x="3840627" y="5012238"/>
                </a:lnTo>
                <a:lnTo>
                  <a:pt x="3840627"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23" name="TextBox 18">
            <a:extLst>
              <a:ext uri="{FF2B5EF4-FFF2-40B4-BE49-F238E27FC236}">
                <a16:creationId xmlns:a16="http://schemas.microsoft.com/office/drawing/2014/main" id="{33E9B520-7919-B7F8-CD84-A859A83FE62F}"/>
              </a:ext>
            </a:extLst>
          </p:cNvPr>
          <p:cNvSpPr txBox="1"/>
          <p:nvPr/>
        </p:nvSpPr>
        <p:spPr>
          <a:xfrm>
            <a:off x="6868232" y="2231056"/>
            <a:ext cx="2477814" cy="290678"/>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ts val="2239"/>
              </a:lnSpc>
              <a:spcBef>
                <a:spcPct val="0"/>
              </a:spcBef>
              <a:spcAft>
                <a:spcPts val="0"/>
              </a:spcAft>
              <a:buClrTx/>
              <a:buSzTx/>
              <a:buFontTx/>
              <a:buNone/>
              <a:tabLst/>
              <a:defRPr/>
            </a:pPr>
            <a:r>
              <a:rPr kumimoji="0" lang="en-US" sz="2133" b="1" i="0" u="none" strike="noStrike" kern="1200" cap="none" spc="0" normalizeH="0" baseline="0" noProof="0" dirty="0">
                <a:ln>
                  <a:noFill/>
                </a:ln>
                <a:solidFill>
                  <a:prstClr val="black">
                    <a:lumMod val="65000"/>
                    <a:lumOff val="35000"/>
                  </a:prstClr>
                </a:solidFill>
                <a:effectLst/>
                <a:uLnTx/>
                <a:uFillTx/>
                <a:latin typeface="Arial Bold"/>
                <a:ea typeface="Arial Bold"/>
                <a:cs typeface="Arial Bold"/>
                <a:sym typeface="Arial Bold"/>
              </a:rPr>
              <a:t>SEMI Foundation</a:t>
            </a:r>
          </a:p>
        </p:txBody>
      </p:sp>
      <p:sp>
        <p:nvSpPr>
          <p:cNvPr id="4" name="Freeform 8">
            <a:extLst>
              <a:ext uri="{FF2B5EF4-FFF2-40B4-BE49-F238E27FC236}">
                <a16:creationId xmlns:a16="http://schemas.microsoft.com/office/drawing/2014/main" id="{011DD3B7-7DB8-007C-2163-B4E26AD42CFD}"/>
              </a:ext>
            </a:extLst>
          </p:cNvPr>
          <p:cNvSpPr/>
          <p:nvPr/>
        </p:nvSpPr>
        <p:spPr>
          <a:xfrm>
            <a:off x="8175567" y="134002"/>
            <a:ext cx="2235344" cy="440571"/>
          </a:xfrm>
          <a:custGeom>
            <a:avLst/>
            <a:gdLst/>
            <a:ahLst/>
            <a:cxnLst/>
            <a:rect l="l" t="t" r="r" b="b"/>
            <a:pathLst>
              <a:path w="3353016" h="660856">
                <a:moveTo>
                  <a:pt x="0" y="0"/>
                </a:moveTo>
                <a:lnTo>
                  <a:pt x="3353015" y="0"/>
                </a:lnTo>
                <a:lnTo>
                  <a:pt x="3353015" y="660856"/>
                </a:lnTo>
                <a:lnTo>
                  <a:pt x="0" y="660856"/>
                </a:lnTo>
                <a:lnTo>
                  <a:pt x="0" y="0"/>
                </a:lnTo>
                <a:close/>
              </a:path>
            </a:pathLst>
          </a:custGeom>
          <a:blipFill>
            <a:blip r:embed="rId6"/>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5" name="Group 5">
            <a:extLst>
              <a:ext uri="{FF2B5EF4-FFF2-40B4-BE49-F238E27FC236}">
                <a16:creationId xmlns:a16="http://schemas.microsoft.com/office/drawing/2014/main" id="{582F4198-F162-31D3-D677-5C8170BE0E04}"/>
              </a:ext>
            </a:extLst>
          </p:cNvPr>
          <p:cNvGrpSpPr/>
          <p:nvPr/>
        </p:nvGrpSpPr>
        <p:grpSpPr>
          <a:xfrm>
            <a:off x="-333069" y="6555699"/>
            <a:ext cx="12994208" cy="629923"/>
            <a:chOff x="0" y="0"/>
            <a:chExt cx="5133514" cy="248858"/>
          </a:xfrm>
        </p:grpSpPr>
        <p:sp>
          <p:nvSpPr>
            <p:cNvPr id="6" name="Freeform 6">
              <a:extLst>
                <a:ext uri="{FF2B5EF4-FFF2-40B4-BE49-F238E27FC236}">
                  <a16:creationId xmlns:a16="http://schemas.microsoft.com/office/drawing/2014/main" id="{B4AD0DDA-750F-EFD1-4F05-1EB2262D4A62}"/>
                </a:ext>
              </a:extLst>
            </p:cNvPr>
            <p:cNvSpPr/>
            <p:nvPr/>
          </p:nvSpPr>
          <p:spPr>
            <a:xfrm>
              <a:off x="0" y="0"/>
              <a:ext cx="5133514" cy="248858"/>
            </a:xfrm>
            <a:custGeom>
              <a:avLst/>
              <a:gdLst/>
              <a:ahLst/>
              <a:cxnLst/>
              <a:rect l="l" t="t" r="r" b="b"/>
              <a:pathLst>
                <a:path w="5133514" h="248858">
                  <a:moveTo>
                    <a:pt x="0" y="0"/>
                  </a:moveTo>
                  <a:lnTo>
                    <a:pt x="5133514" y="0"/>
                  </a:lnTo>
                  <a:lnTo>
                    <a:pt x="5133514" y="248858"/>
                  </a:lnTo>
                  <a:lnTo>
                    <a:pt x="0" y="248858"/>
                  </a:lnTo>
                  <a:close/>
                </a:path>
              </a:pathLst>
            </a:custGeom>
            <a:solidFill>
              <a:srgbClr val="55A51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7" name="TextBox 7">
              <a:extLst>
                <a:ext uri="{FF2B5EF4-FFF2-40B4-BE49-F238E27FC236}">
                  <a16:creationId xmlns:a16="http://schemas.microsoft.com/office/drawing/2014/main" id="{ED4464B6-E982-F9F9-4A8E-2BEAA5AEB5C7}"/>
                </a:ext>
              </a:extLst>
            </p:cNvPr>
            <p:cNvSpPr txBox="1"/>
            <p:nvPr/>
          </p:nvSpPr>
          <p:spPr>
            <a:xfrm>
              <a:off x="0" y="-76200"/>
              <a:ext cx="5133514" cy="32505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sp>
        <p:nvSpPr>
          <p:cNvPr id="27" name="TextBox 17">
            <a:extLst>
              <a:ext uri="{FF2B5EF4-FFF2-40B4-BE49-F238E27FC236}">
                <a16:creationId xmlns:a16="http://schemas.microsoft.com/office/drawing/2014/main" id="{625174EF-9AD5-5B60-60AA-CCDC46FC4156}"/>
              </a:ext>
            </a:extLst>
          </p:cNvPr>
          <p:cNvSpPr txBox="1"/>
          <p:nvPr/>
        </p:nvSpPr>
        <p:spPr>
          <a:xfrm>
            <a:off x="1129146" y="2620266"/>
            <a:ext cx="4695497" cy="344536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Industry Advocacy and Collaboration</a:t>
            </a: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Acts as a unified voice on policy and regulatory issues, promoting fair trade, open markets, and industry-friendly standards. </a:t>
            </a:r>
            <a:b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b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endParaRP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Standards and Best Practices</a:t>
            </a: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Develops and maintains a wide range of technical standards to ensure compatibility and increase production efficiency for manufacturing.</a:t>
            </a:r>
            <a:b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b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endParaRP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Events and Networking</a:t>
            </a: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Organizes global trade shows and conferences, from SEMICON, to ISS where industry professionals, business, and government gather.</a:t>
            </a:r>
            <a:b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b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endParaRP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Market Research and Insights</a:t>
            </a: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Provides market intelligence, reports, and industry forecasts covering equipment, materials, fab capacity, and emerging technology trends.</a:t>
            </a:r>
          </a:p>
        </p:txBody>
      </p:sp>
      <p:sp>
        <p:nvSpPr>
          <p:cNvPr id="28" name="TextBox 17">
            <a:extLst>
              <a:ext uri="{FF2B5EF4-FFF2-40B4-BE49-F238E27FC236}">
                <a16:creationId xmlns:a16="http://schemas.microsoft.com/office/drawing/2014/main" id="{F0F789B4-1CFA-C902-7982-919848905392}"/>
              </a:ext>
            </a:extLst>
          </p:cNvPr>
          <p:cNvSpPr txBox="1"/>
          <p:nvPr/>
        </p:nvSpPr>
        <p:spPr>
          <a:xfrm>
            <a:off x="6868232" y="2620265"/>
            <a:ext cx="4695497" cy="344536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Workforce Development Programs</a:t>
            </a: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Develop &amp; manage initiatives designed to inspire students and job seekers to explore careers in microelectronics</a:t>
            </a:r>
            <a:b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b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endParaRP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STEM Education and Outreach</a:t>
            </a: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Illuminating our industry to young people, inspiring careers in microelectronics and related fields. </a:t>
            </a:r>
            <a:b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b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endParaRP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Broadening Access to Electronics Careers</a:t>
            </a: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With talent shortages ongoing and increasing, industry is in competition for previously untapped pockets of the labor market. </a:t>
            </a:r>
            <a:b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b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endParaRP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Arial"/>
                <a:cs typeface="Calibri" panose="020F0502020204030204" pitchFamily="34" charset="0"/>
                <a:sym typeface="Arial"/>
              </a:rPr>
              <a:t>Partnership Building</a:t>
            </a:r>
          </a:p>
          <a:p>
            <a:pPr marL="0" marR="0" lvl="0" indent="0" algn="l" defTabSz="609539" rtl="0" eaLnBrk="1" fontAlgn="auto" latinLnBrk="0" hangingPunct="1">
              <a:lnSpc>
                <a:spcPts val="1773"/>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sym typeface="Arial"/>
              </a:rPr>
              <a:t>Convenes academia, industry, and communities to ensure the semiconductor sector has a robust pipeline of worker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IOxJhb.PtGFSUlKbkJcRw"/>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MC_PP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1_CSCC_16x9_ratio">
  <a:themeElements>
    <a:clrScheme name="CSCC color palette">
      <a:dk1>
        <a:srgbClr val="00749B"/>
      </a:dk1>
      <a:lt1>
        <a:srgbClr val="FFFFFF"/>
      </a:lt1>
      <a:dk2>
        <a:srgbClr val="003D52"/>
      </a:dk2>
      <a:lt2>
        <a:srgbClr val="A0ABAA"/>
      </a:lt2>
      <a:accent1>
        <a:srgbClr val="00A4B5"/>
      </a:accent1>
      <a:accent2>
        <a:srgbClr val="99DAE9"/>
      </a:accent2>
      <a:accent3>
        <a:srgbClr val="FFB81C"/>
      </a:accent3>
      <a:accent4>
        <a:srgbClr val="D2D654"/>
      </a:accent4>
      <a:accent5>
        <a:srgbClr val="78BD20"/>
      </a:accent5>
      <a:accent6>
        <a:srgbClr val="636569"/>
      </a:accent6>
      <a:hlink>
        <a:srgbClr val="00A4B5"/>
      </a:hlink>
      <a:folHlink>
        <a:srgbClr val="99DAE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98e130b-c41d-43b3-a2e9-0367076db2b0">
      <Terms xmlns="http://schemas.microsoft.com/office/infopath/2007/PartnerControls"/>
    </lcf76f155ced4ddcb4097134ff3c332f>
    <TaxCatchAll xmlns="1671a269-1779-4073-b3e6-1550449daca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187EC51ED2B6844A82AB32FC0F9248B" ma:contentTypeVersion="15" ma:contentTypeDescription="Create a new document." ma:contentTypeScope="" ma:versionID="cdb13648f7ea51a33e7c5bc064880a19">
  <xsd:schema xmlns:xsd="http://www.w3.org/2001/XMLSchema" xmlns:xs="http://www.w3.org/2001/XMLSchema" xmlns:p="http://schemas.microsoft.com/office/2006/metadata/properties" xmlns:ns2="898e130b-c41d-43b3-a2e9-0367076db2b0" xmlns:ns3="1671a269-1779-4073-b3e6-1550449daca2" targetNamespace="http://schemas.microsoft.com/office/2006/metadata/properties" ma:root="true" ma:fieldsID="4cc59458ddc4e2cc09d30506ed2e83d1" ns2:_="" ns3:_="">
    <xsd:import namespace="898e130b-c41d-43b3-a2e9-0367076db2b0"/>
    <xsd:import namespace="1671a269-1779-4073-b3e6-1550449daca2"/>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8e130b-c41d-43b3-a2e9-0367076db2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8b393d6e-3e21-401c-be66-9c7b90428da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671a269-1779-4073-b3e6-1550449daca2"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56edcbe-ffad-439b-8f6b-171a06ab1d93}" ma:internalName="TaxCatchAll" ma:showField="CatchAllData" ma:web="1671a269-1779-4073-b3e6-1550449daca2">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32C81E-03DF-4C79-A517-8C1F424B7B54}">
  <ds:schemaRefs>
    <ds:schemaRef ds:uri="http://schemas.microsoft.com/sharepoint/v3/contenttype/forms"/>
  </ds:schemaRefs>
</ds:datastoreItem>
</file>

<file path=customXml/itemProps2.xml><?xml version="1.0" encoding="utf-8"?>
<ds:datastoreItem xmlns:ds="http://schemas.openxmlformats.org/officeDocument/2006/customXml" ds:itemID="{929FD2D6-7ED4-4B17-81FC-5D9C00427523}">
  <ds:schemaRefs>
    <ds:schemaRef ds:uri="http://purl.org/dc/dcmitype/"/>
    <ds:schemaRef ds:uri="http://schemas.microsoft.com/office/2006/documentManagement/types"/>
    <ds:schemaRef ds:uri="http://schemas.microsoft.com/office/2006/metadata/properties"/>
    <ds:schemaRef ds:uri="http://schemas.microsoft.com/office/infopath/2007/PartnerControls"/>
    <ds:schemaRef ds:uri="http://www.w3.org/XML/1998/namespace"/>
    <ds:schemaRef ds:uri="http://purl.org/dc/terms/"/>
    <ds:schemaRef ds:uri="1671a269-1779-4073-b3e6-1550449daca2"/>
    <ds:schemaRef ds:uri="898e130b-c41d-43b3-a2e9-0367076db2b0"/>
    <ds:schemaRef ds:uri="http://purl.org/dc/elements/1.1/"/>
    <ds:schemaRef ds:uri="http://schemas.openxmlformats.org/package/2006/metadata/core-properties"/>
  </ds:schemaRefs>
</ds:datastoreItem>
</file>

<file path=customXml/itemProps3.xml><?xml version="1.0" encoding="utf-8"?>
<ds:datastoreItem xmlns:ds="http://schemas.openxmlformats.org/officeDocument/2006/customXml" ds:itemID="{B96ECCB6-DC4F-408A-9403-AB44442DDBDA}">
  <ds:schemaRefs>
    <ds:schemaRef ds:uri="1671a269-1779-4073-b3e6-1550449daca2"/>
    <ds:schemaRef ds:uri="898e130b-c41d-43b3-a2e9-0367076db2b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656</TotalTime>
  <Words>1835</Words>
  <Application>Microsoft Office PowerPoint</Application>
  <PresentationFormat>Widescreen</PresentationFormat>
  <Paragraphs>301</Paragraphs>
  <Slides>33</Slides>
  <Notes>9</Notes>
  <HiddenSlides>0</HiddenSlides>
  <MMClips>0</MMClips>
  <ScaleCrop>false</ScaleCrop>
  <HeadingPairs>
    <vt:vector size="8" baseType="variant">
      <vt:variant>
        <vt:lpstr>Fonts Used</vt:lpstr>
      </vt:variant>
      <vt:variant>
        <vt:i4>18</vt:i4>
      </vt: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57" baseType="lpstr">
      <vt:lpstr>Aptos</vt:lpstr>
      <vt:lpstr>Aptos Display</vt:lpstr>
      <vt:lpstr>Arial</vt:lpstr>
      <vt:lpstr>Arial Bold</vt:lpstr>
      <vt:lpstr>Avenir Book</vt:lpstr>
      <vt:lpstr>Avenir Heavy</vt:lpstr>
      <vt:lpstr>Calibri</vt:lpstr>
      <vt:lpstr>Calibri Light</vt:lpstr>
      <vt:lpstr>Courier New</vt:lpstr>
      <vt:lpstr>Franklin Gothic</vt:lpstr>
      <vt:lpstr>Gill Sans MT</vt:lpstr>
      <vt:lpstr>Gotham Book</vt:lpstr>
      <vt:lpstr>Gotham-Book</vt:lpstr>
      <vt:lpstr>Helvetica</vt:lpstr>
      <vt:lpstr>Poppins Bold</vt:lpstr>
      <vt:lpstr>Public Sans</vt:lpstr>
      <vt:lpstr>Public Sans Bold</vt:lpstr>
      <vt:lpstr>Wingdings</vt:lpstr>
      <vt:lpstr>Office Theme</vt:lpstr>
      <vt:lpstr>MMC_PP Template</vt:lpstr>
      <vt:lpstr>Custom Design</vt:lpstr>
      <vt:lpstr>1_CSCC_16x9_ratio</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reer Tech in Ohio</vt:lpstr>
      <vt:lpstr>Origin Story </vt:lpstr>
      <vt:lpstr>PowerPoint Presentation</vt:lpstr>
      <vt:lpstr>Partnerships</vt:lpstr>
      <vt:lpstr>Programming Models</vt:lpstr>
      <vt:lpstr>Programming – A closer look</vt:lpstr>
      <vt:lpstr>Funding </vt:lpstr>
      <vt:lpstr>Organizational Supports</vt:lpstr>
      <vt:lpstr>About GCCC</vt:lpstr>
      <vt:lpstr>Serving over 4,000 students in Greene County</vt:lpstr>
      <vt:lpstr>Connected</vt:lpstr>
      <vt:lpstr>Innovative and Accomplished</vt:lpstr>
      <vt:lpstr>Intentional Alignment Model</vt:lpstr>
      <vt:lpstr>Advanced Engineering Systems</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urtney Tenhover</dc:creator>
  <cp:lastModifiedBy>Courtney Tenhover</cp:lastModifiedBy>
  <cp:revision>92</cp:revision>
  <dcterms:created xsi:type="dcterms:W3CDTF">2025-01-17T15:27:08Z</dcterms:created>
  <dcterms:modified xsi:type="dcterms:W3CDTF">2025-05-20T12:1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87EC51ED2B6844A82AB32FC0F9248B</vt:lpwstr>
  </property>
  <property fmtid="{D5CDD505-2E9C-101B-9397-08002B2CF9AE}" pid="3" name="MediaServiceImageTags">
    <vt:lpwstr/>
  </property>
</Properties>
</file>